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38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2</c:v>
                </c:pt>
                <c:pt idx="1">
                  <c:v>64</c:v>
                </c:pt>
                <c:pt idx="2">
                  <c:v>63</c:v>
                </c:pt>
                <c:pt idx="3">
                  <c:v>60</c:v>
                </c:pt>
                <c:pt idx="4">
                  <c:v>68</c:v>
                </c:pt>
                <c:pt idx="5">
                  <c:v>91</c:v>
                </c:pt>
                <c:pt idx="6">
                  <c:v>96</c:v>
                </c:pt>
                <c:pt idx="7">
                  <c:v>101</c:v>
                </c:pt>
                <c:pt idx="8">
                  <c:v>112</c:v>
                </c:pt>
                <c:pt idx="9">
                  <c:v>116</c:v>
                </c:pt>
                <c:pt idx="10">
                  <c:v>114</c:v>
                </c:pt>
                <c:pt idx="11">
                  <c:v>126</c:v>
                </c:pt>
                <c:pt idx="12">
                  <c:v>156</c:v>
                </c:pt>
                <c:pt idx="13">
                  <c:v>162</c:v>
                </c:pt>
                <c:pt idx="14">
                  <c:v>167</c:v>
                </c:pt>
                <c:pt idx="15">
                  <c:v>165</c:v>
                </c:pt>
                <c:pt idx="16">
                  <c:v>180</c:v>
                </c:pt>
                <c:pt idx="17">
                  <c:v>158</c:v>
                </c:pt>
                <c:pt idx="18">
                  <c:v>161</c:v>
                </c:pt>
                <c:pt idx="19">
                  <c:v>180</c:v>
                </c:pt>
                <c:pt idx="20">
                  <c:v>176</c:v>
                </c:pt>
                <c:pt idx="21">
                  <c:v>178</c:v>
                </c:pt>
                <c:pt idx="22">
                  <c:v>180</c:v>
                </c:pt>
                <c:pt idx="23">
                  <c:v>186</c:v>
                </c:pt>
                <c:pt idx="24">
                  <c:v>187</c:v>
                </c:pt>
                <c:pt idx="25">
                  <c:v>196</c:v>
                </c:pt>
                <c:pt idx="26">
                  <c:v>228</c:v>
                </c:pt>
                <c:pt idx="27">
                  <c:v>225</c:v>
                </c:pt>
                <c:pt idx="28">
                  <c:v>252</c:v>
                </c:pt>
                <c:pt idx="29">
                  <c:v>249</c:v>
                </c:pt>
                <c:pt idx="30">
                  <c:v>241</c:v>
                </c:pt>
                <c:pt idx="31">
                  <c:v>229</c:v>
                </c:pt>
                <c:pt idx="32">
                  <c:v>242</c:v>
                </c:pt>
                <c:pt idx="33">
                  <c:v>294</c:v>
                </c:pt>
                <c:pt idx="34">
                  <c:v>296</c:v>
                </c:pt>
                <c:pt idx="35">
                  <c:v>319</c:v>
                </c:pt>
                <c:pt idx="36">
                  <c:v>311</c:v>
                </c:pt>
                <c:pt idx="37">
                  <c:v>337</c:v>
                </c:pt>
                <c:pt idx="38">
                  <c:v>328</c:v>
                </c:pt>
                <c:pt idx="39">
                  <c:v>345</c:v>
                </c:pt>
                <c:pt idx="40">
                  <c:v>420</c:v>
                </c:pt>
                <c:pt idx="41">
                  <c:v>438</c:v>
                </c:pt>
                <c:pt idx="42">
                  <c:v>463</c:v>
                </c:pt>
                <c:pt idx="43">
                  <c:v>487</c:v>
                </c:pt>
                <c:pt idx="44">
                  <c:v>517</c:v>
                </c:pt>
                <c:pt idx="45">
                  <c:v>508</c:v>
                </c:pt>
                <c:pt idx="46">
                  <c:v>532</c:v>
                </c:pt>
                <c:pt idx="47">
                  <c:v>653</c:v>
                </c:pt>
                <c:pt idx="48">
                  <c:v>716</c:v>
                </c:pt>
                <c:pt idx="49">
                  <c:v>785</c:v>
                </c:pt>
                <c:pt idx="50">
                  <c:v>828</c:v>
                </c:pt>
                <c:pt idx="51">
                  <c:v>905</c:v>
                </c:pt>
                <c:pt idx="52">
                  <c:v>917</c:v>
                </c:pt>
                <c:pt idx="53">
                  <c:v>978</c:v>
                </c:pt>
                <c:pt idx="54">
                  <c:v>1156</c:v>
                </c:pt>
                <c:pt idx="55">
                  <c:v>1274</c:v>
                </c:pt>
                <c:pt idx="56">
                  <c:v>1381</c:v>
                </c:pt>
                <c:pt idx="57">
                  <c:v>1374</c:v>
                </c:pt>
                <c:pt idx="58">
                  <c:v>1557</c:v>
                </c:pt>
                <c:pt idx="59">
                  <c:v>1575</c:v>
                </c:pt>
                <c:pt idx="60">
                  <c:v>1703</c:v>
                </c:pt>
                <c:pt idx="61">
                  <c:v>2070</c:v>
                </c:pt>
                <c:pt idx="62">
                  <c:v>2244</c:v>
                </c:pt>
                <c:pt idx="63">
                  <c:v>2437</c:v>
                </c:pt>
                <c:pt idx="64">
                  <c:v>2593</c:v>
                </c:pt>
                <c:pt idx="65">
                  <c:v>2688</c:v>
                </c:pt>
                <c:pt idx="66">
                  <c:v>2659</c:v>
                </c:pt>
                <c:pt idx="67">
                  <c:v>2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6</c:v>
                </c:pt>
                <c:pt idx="13">
                  <c:v>7</c:v>
                </c:pt>
                <c:pt idx="14">
                  <c:v>11</c:v>
                </c:pt>
                <c:pt idx="15">
                  <c:v>10</c:v>
                </c:pt>
                <c:pt idx="16">
                  <c:v>11</c:v>
                </c:pt>
                <c:pt idx="17">
                  <c:v>10</c:v>
                </c:pt>
                <c:pt idx="18">
                  <c:v>10</c:v>
                </c:pt>
                <c:pt idx="19">
                  <c:v>12</c:v>
                </c:pt>
                <c:pt idx="20">
                  <c:v>11</c:v>
                </c:pt>
                <c:pt idx="21">
                  <c:v>10</c:v>
                </c:pt>
                <c:pt idx="22">
                  <c:v>9</c:v>
                </c:pt>
                <c:pt idx="23">
                  <c:v>8</c:v>
                </c:pt>
                <c:pt idx="24">
                  <c:v>6</c:v>
                </c:pt>
                <c:pt idx="25">
                  <c:v>6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8</c:v>
                </c:pt>
                <c:pt idx="34">
                  <c:v>8</c:v>
                </c:pt>
                <c:pt idx="35">
                  <c:v>9</c:v>
                </c:pt>
                <c:pt idx="36">
                  <c:v>9</c:v>
                </c:pt>
                <c:pt idx="37">
                  <c:v>12</c:v>
                </c:pt>
                <c:pt idx="38">
                  <c:v>12</c:v>
                </c:pt>
                <c:pt idx="39">
                  <c:v>11</c:v>
                </c:pt>
                <c:pt idx="40">
                  <c:v>11</c:v>
                </c:pt>
                <c:pt idx="41">
                  <c:v>13</c:v>
                </c:pt>
                <c:pt idx="42">
                  <c:v>11</c:v>
                </c:pt>
                <c:pt idx="43">
                  <c:v>10</c:v>
                </c:pt>
                <c:pt idx="44">
                  <c:v>15</c:v>
                </c:pt>
                <c:pt idx="45">
                  <c:v>17</c:v>
                </c:pt>
                <c:pt idx="46">
                  <c:v>19</c:v>
                </c:pt>
                <c:pt idx="47">
                  <c:v>26</c:v>
                </c:pt>
                <c:pt idx="48">
                  <c:v>30</c:v>
                </c:pt>
                <c:pt idx="49">
                  <c:v>33</c:v>
                </c:pt>
                <c:pt idx="50">
                  <c:v>41</c:v>
                </c:pt>
                <c:pt idx="51">
                  <c:v>46</c:v>
                </c:pt>
                <c:pt idx="52">
                  <c:v>43</c:v>
                </c:pt>
                <c:pt idx="53">
                  <c:v>45</c:v>
                </c:pt>
                <c:pt idx="54">
                  <c:v>75</c:v>
                </c:pt>
                <c:pt idx="55">
                  <c:v>56</c:v>
                </c:pt>
                <c:pt idx="56">
                  <c:v>56</c:v>
                </c:pt>
                <c:pt idx="57">
                  <c:v>58</c:v>
                </c:pt>
                <c:pt idx="58">
                  <c:v>71</c:v>
                </c:pt>
                <c:pt idx="59">
                  <c:v>63</c:v>
                </c:pt>
                <c:pt idx="60">
                  <c:v>67</c:v>
                </c:pt>
                <c:pt idx="61">
                  <c:v>82</c:v>
                </c:pt>
                <c:pt idx="62">
                  <c:v>74</c:v>
                </c:pt>
                <c:pt idx="63">
                  <c:v>85</c:v>
                </c:pt>
                <c:pt idx="64">
                  <c:v>92</c:v>
                </c:pt>
                <c:pt idx="65">
                  <c:v>96</c:v>
                </c:pt>
                <c:pt idx="66">
                  <c:v>95</c:v>
                </c:pt>
                <c:pt idx="67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4.35690744862881</c:v>
                </c:pt>
                <c:pt idx="50">
                  <c:v>14.406817493109701</c:v>
                </c:pt>
                <c:pt idx="51">
                  <c:v>14.449146215393295</c:v>
                </c:pt>
                <c:pt idx="52">
                  <c:v>14.48510074112605</c:v>
                </c:pt>
                <c:pt idx="53">
                  <c:v>14.51577315322398</c:v>
                </c:pt>
                <c:pt idx="54">
                  <c:v>14.542011865446543</c:v>
                </c:pt>
                <c:pt idx="55">
                  <c:v>14.564460890392274</c:v>
                </c:pt>
                <c:pt idx="56">
                  <c:v>14.583661286383508</c:v>
                </c:pt>
                <c:pt idx="57">
                  <c:v>14.600019980807769</c:v>
                </c:pt>
                <c:pt idx="58">
                  <c:v>14.613957551855185</c:v>
                </c:pt>
                <c:pt idx="59">
                  <c:v>14.625832331202714</c:v>
                </c:pt>
                <c:pt idx="60">
                  <c:v>14.635949616637367</c:v>
                </c:pt>
                <c:pt idx="61">
                  <c:v>14.644569521190588</c:v>
                </c:pt>
                <c:pt idx="62">
                  <c:v>14.651913660583169</c:v>
                </c:pt>
                <c:pt idx="63">
                  <c:v>14.658170850913368</c:v>
                </c:pt>
                <c:pt idx="64">
                  <c:v>14.663501963074435</c:v>
                </c:pt>
                <c:pt idx="65">
                  <c:v>14.668044058707467</c:v>
                </c:pt>
                <c:pt idx="66">
                  <c:v>14.671913914024017</c:v>
                </c:pt>
                <c:pt idx="67">
                  <c:v>14.675211022095036</c:v>
                </c:pt>
                <c:pt idx="68">
                  <c:v>14.678020150794366</c:v>
                </c:pt>
                <c:pt idx="69">
                  <c:v>14.680413522160856</c:v>
                </c:pt>
                <c:pt idx="70">
                  <c:v>14.682452669210011</c:v>
                </c:pt>
                <c:pt idx="71">
                  <c:v>14.684190017933362</c:v>
                </c:pt>
                <c:pt idx="72">
                  <c:v>14.685670235158392</c:v>
                </c:pt>
                <c:pt idx="73">
                  <c:v>14.686931376922178</c:v>
                </c:pt>
                <c:pt idx="74">
                  <c:v>14.688005866883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7.664551662698141</c:v>
                </c:pt>
                <c:pt idx="50">
                  <c:v>18.066171835027241</c:v>
                </c:pt>
                <c:pt idx="51">
                  <c:v>18.4710250386658</c:v>
                </c:pt>
                <c:pt idx="52">
                  <c:v>18.879584689022831</c:v>
                </c:pt>
                <c:pt idx="53">
                  <c:v>19.292219908749157</c:v>
                </c:pt>
                <c:pt idx="54">
                  <c:v>19.709224228861387</c:v>
                </c:pt>
                <c:pt idx="55">
                  <c:v>20.130793402920023</c:v>
                </c:pt>
                <c:pt idx="56">
                  <c:v>20.557071947620031</c:v>
                </c:pt>
                <c:pt idx="57">
                  <c:v>20.98817911757822</c:v>
                </c:pt>
                <c:pt idx="58">
                  <c:v>21.424169608537955</c:v>
                </c:pt>
                <c:pt idx="59">
                  <c:v>21.865098735802871</c:v>
                </c:pt>
                <c:pt idx="60">
                  <c:v>22.311022441254867</c:v>
                </c:pt>
                <c:pt idx="61">
                  <c:v>22.761997300451608</c:v>
                </c:pt>
                <c:pt idx="62">
                  <c:v>23.218080529804425</c:v>
                </c:pt>
                <c:pt idx="63">
                  <c:v>23.679329993837513</c:v>
                </c:pt>
                <c:pt idx="64">
                  <c:v>24.145804212529363</c:v>
                </c:pt>
                <c:pt idx="65">
                  <c:v>24.617562368737349</c:v>
                </c:pt>
                <c:pt idx="66">
                  <c:v>25.094664315706421</c:v>
                </c:pt>
                <c:pt idx="67">
                  <c:v>25.577170584662852</c:v>
                </c:pt>
                <c:pt idx="68">
                  <c:v>26.065142392493989</c:v>
                </c:pt>
                <c:pt idx="69">
                  <c:v>26.558641649515021</c:v>
                </c:pt>
                <c:pt idx="70">
                  <c:v>27.057730967323703</c:v>
                </c:pt>
                <c:pt idx="71">
                  <c:v>27.562473666744062</c:v>
                </c:pt>
                <c:pt idx="72">
                  <c:v>28.072933785860073</c:v>
                </c:pt>
                <c:pt idx="73">
                  <c:v>28.589176088140363</c:v>
                </c:pt>
                <c:pt idx="74">
                  <c:v>29.11126607065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2.360216350487185</c:v>
                </c:pt>
                <c:pt idx="50">
                  <c:v>23.301376779938735</c:v>
                </c:pt>
                <c:pt idx="51">
                  <c:v>24.275799218520746</c:v>
                </c:pt>
                <c:pt idx="52">
                  <c:v>25.284412891716421</c:v>
                </c:pt>
                <c:pt idx="53">
                  <c:v>26.328166715796694</c:v>
                </c:pt>
                <c:pt idx="54">
                  <c:v>27.408024225523427</c:v>
                </c:pt>
                <c:pt idx="55">
                  <c:v>28.524953239654856</c:v>
                </c:pt>
                <c:pt idx="56">
                  <c:v>29.679925005230555</c:v>
                </c:pt>
                <c:pt idx="57">
                  <c:v>30.873914749467087</c:v>
                </c:pt>
                <c:pt idx="58">
                  <c:v>32.10824060212672</c:v>
                </c:pt>
                <c:pt idx="59">
                  <c:v>33.384265222855873</c:v>
                </c:pt>
                <c:pt idx="60">
                  <c:v>34.703397305521555</c:v>
                </c:pt>
                <c:pt idx="61">
                  <c:v>36.067093133368154</c:v>
                </c:pt>
                <c:pt idx="62">
                  <c:v>37.476858186711588</c:v>
                </c:pt>
                <c:pt idx="63">
                  <c:v>38.934248804945547</c:v>
                </c:pt>
                <c:pt idx="64">
                  <c:v>40.440873904694655</c:v>
                </c:pt>
                <c:pt idx="65">
                  <c:v>41.998396756011388</c:v>
                </c:pt>
                <c:pt idx="66">
                  <c:v>43.608536818577562</c:v>
                </c:pt>
                <c:pt idx="67">
                  <c:v>45.273071639937548</c:v>
                </c:pt>
                <c:pt idx="68">
                  <c:v>46.993838817858801</c:v>
                </c:pt>
                <c:pt idx="69">
                  <c:v>48.772738028986012</c:v>
                </c:pt>
                <c:pt idx="70">
                  <c:v>50.611733126028611</c:v>
                </c:pt>
                <c:pt idx="71">
                  <c:v>52.512854305796722</c:v>
                </c:pt>
                <c:pt idx="72">
                  <c:v>54.478200350479071</c:v>
                </c:pt>
                <c:pt idx="73">
                  <c:v>56.50994094463713</c:v>
                </c:pt>
                <c:pt idx="74">
                  <c:v>58.6103190704734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6.488646535912309</c:v>
                </c:pt>
                <c:pt idx="50">
                  <c:v>39.277865914278657</c:v>
                </c:pt>
                <c:pt idx="51">
                  <c:v>42.267848038017036</c:v>
                </c:pt>
                <c:pt idx="52">
                  <c:v>45.54571250547486</c:v>
                </c:pt>
                <c:pt idx="53">
                  <c:v>49.189362116249029</c:v>
                </c:pt>
                <c:pt idx="54">
                  <c:v>53.201667710382466</c:v>
                </c:pt>
                <c:pt idx="55">
                  <c:v>57.516127006618859</c:v>
                </c:pt>
                <c:pt idx="56">
                  <c:v>62.164804656118534</c:v>
                </c:pt>
                <c:pt idx="57">
                  <c:v>67.35236619471857</c:v>
                </c:pt>
                <c:pt idx="58">
                  <c:v>72.994099453379036</c:v>
                </c:pt>
                <c:pt idx="59">
                  <c:v>79.145044536671065</c:v>
                </c:pt>
                <c:pt idx="60">
                  <c:v>85.813924932203605</c:v>
                </c:pt>
                <c:pt idx="61">
                  <c:v>92.93785008690574</c:v>
                </c:pt>
                <c:pt idx="62">
                  <c:v>100.38582001322681</c:v>
                </c:pt>
                <c:pt idx="63">
                  <c:v>107.90129719313008</c:v>
                </c:pt>
                <c:pt idx="64">
                  <c:v>115.43436842630567</c:v>
                </c:pt>
                <c:pt idx="65">
                  <c:v>123.06100951541677</c:v>
                </c:pt>
                <c:pt idx="66">
                  <c:v>130.60683757643474</c:v>
                </c:pt>
                <c:pt idx="67">
                  <c:v>137.98562206695155</c:v>
                </c:pt>
                <c:pt idx="68">
                  <c:v>145.21608628824893</c:v>
                </c:pt>
                <c:pt idx="69">
                  <c:v>152.27084258690846</c:v>
                </c:pt>
                <c:pt idx="70">
                  <c:v>159.11543023551752</c:v>
                </c:pt>
                <c:pt idx="71">
                  <c:v>165.76802969722019</c:v>
                </c:pt>
                <c:pt idx="72">
                  <c:v>172.20935249800115</c:v>
                </c:pt>
                <c:pt idx="73">
                  <c:v>178.38949284500569</c:v>
                </c:pt>
                <c:pt idx="74">
                  <c:v>184.34035951184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5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4</c:v>
                </c:pt>
                <c:pt idx="12">
                  <c:v>7</c:v>
                </c:pt>
                <c:pt idx="13">
                  <c:v>6</c:v>
                </c:pt>
                <c:pt idx="14">
                  <c:v>5</c:v>
                </c:pt>
                <c:pt idx="15">
                  <c:v>4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6</c:v>
                </c:pt>
                <c:pt idx="20">
                  <c:v>17</c:v>
                </c:pt>
                <c:pt idx="21">
                  <c:v>17</c:v>
                </c:pt>
                <c:pt idx="22">
                  <c:v>19</c:v>
                </c:pt>
                <c:pt idx="23">
                  <c:v>18</c:v>
                </c:pt>
                <c:pt idx="24">
                  <c:v>17</c:v>
                </c:pt>
                <c:pt idx="25">
                  <c:v>20</c:v>
                </c:pt>
                <c:pt idx="26">
                  <c:v>20</c:v>
                </c:pt>
                <c:pt idx="27">
                  <c:v>19</c:v>
                </c:pt>
                <c:pt idx="28">
                  <c:v>19</c:v>
                </c:pt>
                <c:pt idx="29">
                  <c:v>20</c:v>
                </c:pt>
                <c:pt idx="30">
                  <c:v>17</c:v>
                </c:pt>
                <c:pt idx="31">
                  <c:v>5</c:v>
                </c:pt>
                <c:pt idx="32">
                  <c:v>4</c:v>
                </c:pt>
                <c:pt idx="33">
                  <c:v>4</c:v>
                </c:pt>
                <c:pt idx="34">
                  <c:v>5</c:v>
                </c:pt>
                <c:pt idx="35">
                  <c:v>4</c:v>
                </c:pt>
                <c:pt idx="36">
                  <c:v>6</c:v>
                </c:pt>
                <c:pt idx="37">
                  <c:v>5</c:v>
                </c:pt>
                <c:pt idx="38">
                  <c:v>5</c:v>
                </c:pt>
                <c:pt idx="39">
                  <c:v>4</c:v>
                </c:pt>
                <c:pt idx="40">
                  <c:v>7</c:v>
                </c:pt>
                <c:pt idx="41">
                  <c:v>8</c:v>
                </c:pt>
                <c:pt idx="42">
                  <c:v>10</c:v>
                </c:pt>
                <c:pt idx="43">
                  <c:v>11</c:v>
                </c:pt>
                <c:pt idx="44">
                  <c:v>11</c:v>
                </c:pt>
                <c:pt idx="45">
                  <c:v>12</c:v>
                </c:pt>
                <c:pt idx="46">
                  <c:v>9</c:v>
                </c:pt>
                <c:pt idx="47">
                  <c:v>11</c:v>
                </c:pt>
                <c:pt idx="48">
                  <c:v>12</c:v>
                </c:pt>
                <c:pt idx="49">
                  <c:v>15</c:v>
                </c:pt>
                <c:pt idx="50">
                  <c:v>21</c:v>
                </c:pt>
                <c:pt idx="51">
                  <c:v>29</c:v>
                </c:pt>
                <c:pt idx="52">
                  <c:v>29</c:v>
                </c:pt>
                <c:pt idx="53">
                  <c:v>30</c:v>
                </c:pt>
                <c:pt idx="54">
                  <c:v>37</c:v>
                </c:pt>
                <c:pt idx="55">
                  <c:v>46</c:v>
                </c:pt>
                <c:pt idx="56">
                  <c:v>48</c:v>
                </c:pt>
                <c:pt idx="57">
                  <c:v>57</c:v>
                </c:pt>
                <c:pt idx="58">
                  <c:v>76</c:v>
                </c:pt>
                <c:pt idx="59">
                  <c:v>73</c:v>
                </c:pt>
                <c:pt idx="60">
                  <c:v>74</c:v>
                </c:pt>
                <c:pt idx="61">
                  <c:v>86</c:v>
                </c:pt>
                <c:pt idx="62">
                  <c:v>82</c:v>
                </c:pt>
                <c:pt idx="63">
                  <c:v>95</c:v>
                </c:pt>
                <c:pt idx="64">
                  <c:v>98</c:v>
                </c:pt>
                <c:pt idx="65">
                  <c:v>109</c:v>
                </c:pt>
                <c:pt idx="66">
                  <c:v>108</c:v>
                </c:pt>
                <c:pt idx="67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8.0067368463506821</c:v>
                </c:pt>
                <c:pt idx="50">
                  <c:v>8.0345712942342562</c:v>
                </c:pt>
                <c:pt idx="51">
                  <c:v>8.0581776970462595</c:v>
                </c:pt>
                <c:pt idx="52">
                  <c:v>8.0782292594741421</c:v>
                </c:pt>
                <c:pt idx="53">
                  <c:v>8.0953350277595266</c:v>
                </c:pt>
                <c:pt idx="54">
                  <c:v>8.1099681557298027</c:v>
                </c:pt>
                <c:pt idx="55">
                  <c:v>8.1224878042572293</c:v>
                </c:pt>
                <c:pt idx="56">
                  <c:v>8.1331957174061866</c:v>
                </c:pt>
                <c:pt idx="57">
                  <c:v>8.1423188354504852</c:v>
                </c:pt>
                <c:pt idx="58">
                  <c:v>8.1500917116115446</c:v>
                </c:pt>
                <c:pt idx="59">
                  <c:v>8.1567141847092053</c:v>
                </c:pt>
                <c:pt idx="60">
                  <c:v>8.1623565169708385</c:v>
                </c:pt>
                <c:pt idx="61">
                  <c:v>8.1671637714332128</c:v>
                </c:pt>
                <c:pt idx="62">
                  <c:v>8.1712595414790741</c:v>
                </c:pt>
                <c:pt idx="63">
                  <c:v>8.1747491283939926</c:v>
                </c:pt>
                <c:pt idx="64">
                  <c:v>8.1777222486376644</c:v>
                </c:pt>
                <c:pt idx="65">
                  <c:v>8.1802553404330105</c:v>
                </c:pt>
                <c:pt idx="66">
                  <c:v>8.1824135289749318</c:v>
                </c:pt>
                <c:pt idx="67">
                  <c:v>8.1842523007837684</c:v>
                </c:pt>
                <c:pt idx="68">
                  <c:v>8.1858189302507025</c:v>
                </c:pt>
                <c:pt idx="69">
                  <c:v>8.1871536950512454</c:v>
                </c:pt>
                <c:pt idx="70">
                  <c:v>8.1882909116748124</c:v>
                </c:pt>
                <c:pt idx="71">
                  <c:v>8.1892598176936051</c:v>
                </c:pt>
                <c:pt idx="72">
                  <c:v>8.1900853234537188</c:v>
                </c:pt>
                <c:pt idx="73">
                  <c:v>8.190788652514291</c:v>
                </c:pt>
                <c:pt idx="74">
                  <c:v>8.1913878873002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.8513845811201168</c:v>
                </c:pt>
                <c:pt idx="50">
                  <c:v>10.075365061842113</c:v>
                </c:pt>
                <c:pt idx="51">
                  <c:v>10.301148579255926</c:v>
                </c:pt>
                <c:pt idx="52">
                  <c:v>10.528999153493501</c:v>
                </c:pt>
                <c:pt idx="53">
                  <c:v>10.759122641417799</c:v>
                </c:pt>
                <c:pt idx="54">
                  <c:v>10.991682743018851</c:v>
                </c:pt>
                <c:pt idx="55">
                  <c:v>11.226788628551551</c:v>
                </c:pt>
                <c:pt idx="56">
                  <c:v>11.464520893865018</c:v>
                </c:pt>
                <c:pt idx="57">
                  <c:v>11.704946046341698</c:v>
                </c:pt>
                <c:pt idx="58">
                  <c:v>11.948094589376936</c:v>
                </c:pt>
                <c:pt idx="59">
                  <c:v>12.193997371890061</c:v>
                </c:pt>
                <c:pt idx="60">
                  <c:v>12.44268559223829</c:v>
                </c:pt>
                <c:pt idx="61">
                  <c:v>12.694190802174933</c:v>
                </c:pt>
                <c:pt idx="62">
                  <c:v>12.948544910852467</c:v>
                </c:pt>
                <c:pt idx="63">
                  <c:v>13.20578018887092</c:v>
                </c:pt>
                <c:pt idx="64">
                  <c:v>13.465929272372144</c:v>
                </c:pt>
                <c:pt idx="65">
                  <c:v>13.729025167180444</c:v>
                </c:pt>
                <c:pt idx="66">
                  <c:v>13.99510125299012</c:v>
                </c:pt>
                <c:pt idx="67">
                  <c:v>14.264191287600436</c:v>
                </c:pt>
                <c:pt idx="68">
                  <c:v>14.536329411198569</c:v>
                </c:pt>
                <c:pt idx="69">
                  <c:v>14.811550150691069</c:v>
                </c:pt>
                <c:pt idx="70">
                  <c:v>15.089888424084373</c:v>
                </c:pt>
                <c:pt idx="71">
                  <c:v>15.371379544914957</c:v>
                </c:pt>
                <c:pt idx="72">
                  <c:v>15.656059226729655</c:v>
                </c:pt>
                <c:pt idx="73">
                  <c:v>15.943963587616739</c:v>
                </c:pt>
                <c:pt idx="74">
                  <c:v>16.235129154788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2.470120657002468</c:v>
                </c:pt>
                <c:pt idx="50">
                  <c:v>12.994998588811987</c:v>
                </c:pt>
                <c:pt idx="51">
                  <c:v>13.538426487251952</c:v>
                </c:pt>
                <c:pt idx="52">
                  <c:v>14.100922574226464</c:v>
                </c:pt>
                <c:pt idx="53">
                  <c:v>14.683016053040463</c:v>
                </c:pt>
                <c:pt idx="54">
                  <c:v>15.285244279618833</c:v>
                </c:pt>
                <c:pt idx="55">
                  <c:v>15.908146999038284</c:v>
                </c:pt>
                <c:pt idx="56">
                  <c:v>16.552265868301653</c:v>
                </c:pt>
                <c:pt idx="57">
                  <c:v>17.218144764125874</c:v>
                </c:pt>
                <c:pt idx="58">
                  <c:v>17.906518797339899</c:v>
                </c:pt>
                <c:pt idx="59">
                  <c:v>18.618147912746544</c:v>
                </c:pt>
                <c:pt idx="60">
                  <c:v>19.353817728079328</c:v>
                </c:pt>
                <c:pt idx="61">
                  <c:v>20.114340401301469</c:v>
                </c:pt>
                <c:pt idx="62">
                  <c:v>20.900555527204538</c:v>
                </c:pt>
                <c:pt idx="63">
                  <c:v>21.713331064296554</c:v>
                </c:pt>
                <c:pt idx="64">
                  <c:v>22.553564293002786</c:v>
                </c:pt>
                <c:pt idx="65">
                  <c:v>23.422182806237117</c:v>
                </c:pt>
                <c:pt idx="66">
                  <c:v>24.320145533437483</c:v>
                </c:pt>
                <c:pt idx="67">
                  <c:v>25.24844379919594</c:v>
                </c:pt>
                <c:pt idx="68">
                  <c:v>26.208102417652022</c:v>
                </c:pt>
                <c:pt idx="69">
                  <c:v>27.200180823857579</c:v>
                </c:pt>
                <c:pt idx="70">
                  <c:v>28.225774243362107</c:v>
                </c:pt>
                <c:pt idx="71">
                  <c:v>29.286014901309709</c:v>
                </c:pt>
                <c:pt idx="72">
                  <c:v>30.382073272382556</c:v>
                </c:pt>
                <c:pt idx="73">
                  <c:v>31.515159372970704</c:v>
                </c:pt>
                <c:pt idx="74">
                  <c:v>32.6865240969948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0.451167217346342</c:v>
                </c:pt>
                <c:pt idx="50">
                  <c:v>22.100711698965089</c:v>
                </c:pt>
                <c:pt idx="51">
                  <c:v>23.871623727625533</c:v>
                </c:pt>
                <c:pt idx="52">
                  <c:v>25.820578451835011</c:v>
                </c:pt>
                <c:pt idx="53">
                  <c:v>27.984222514559608</c:v>
                </c:pt>
                <c:pt idx="54">
                  <c:v>30.363857060848449</c:v>
                </c:pt>
                <c:pt idx="55">
                  <c:v>32.933316599130549</c:v>
                </c:pt>
                <c:pt idx="56">
                  <c:v>35.706209158642451</c:v>
                </c:pt>
                <c:pt idx="57">
                  <c:v>38.784511168597163</c:v>
                </c:pt>
                <c:pt idx="58">
                  <c:v>42.124807851093422</c:v>
                </c:pt>
                <c:pt idx="59">
                  <c:v>45.750794696434099</c:v>
                </c:pt>
                <c:pt idx="60">
                  <c:v>49.676362918003576</c:v>
                </c:pt>
                <c:pt idx="61">
                  <c:v>53.871700673041943</c:v>
                </c:pt>
                <c:pt idx="62">
                  <c:v>58.244708909868855</c:v>
                </c:pt>
                <c:pt idx="63">
                  <c:v>62.655560228898437</c:v>
                </c:pt>
                <c:pt idx="64">
                  <c:v>67.067246518114089</c:v>
                </c:pt>
                <c:pt idx="65">
                  <c:v>71.504040344292093</c:v>
                </c:pt>
                <c:pt idx="66">
                  <c:v>75.877396208833588</c:v>
                </c:pt>
                <c:pt idx="67">
                  <c:v>80.146133120533278</c:v>
                </c:pt>
                <c:pt idx="68">
                  <c:v>84.314572153333884</c:v>
                </c:pt>
                <c:pt idx="69">
                  <c:v>88.367050142688512</c:v>
                </c:pt>
                <c:pt idx="70">
                  <c:v>92.28600562170088</c:v>
                </c:pt>
                <c:pt idx="71">
                  <c:v>96.080019113572646</c:v>
                </c:pt>
                <c:pt idx="72">
                  <c:v>99.739057238660621</c:v>
                </c:pt>
                <c:pt idx="73">
                  <c:v>103.24062738722495</c:v>
                </c:pt>
                <c:pt idx="74">
                  <c:v>106.60223788978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3</c:v>
                </c:pt>
                <c:pt idx="1">
                  <c:v>13</c:v>
                </c:pt>
                <c:pt idx="2">
                  <c:v>17</c:v>
                </c:pt>
                <c:pt idx="3">
                  <c:v>16</c:v>
                </c:pt>
                <c:pt idx="4">
                  <c:v>16</c:v>
                </c:pt>
                <c:pt idx="5">
                  <c:v>17</c:v>
                </c:pt>
                <c:pt idx="6">
                  <c:v>19</c:v>
                </c:pt>
                <c:pt idx="7">
                  <c:v>17</c:v>
                </c:pt>
                <c:pt idx="8">
                  <c:v>23</c:v>
                </c:pt>
                <c:pt idx="9">
                  <c:v>23</c:v>
                </c:pt>
                <c:pt idx="10">
                  <c:v>22</c:v>
                </c:pt>
                <c:pt idx="11">
                  <c:v>20</c:v>
                </c:pt>
                <c:pt idx="12">
                  <c:v>22</c:v>
                </c:pt>
                <c:pt idx="13">
                  <c:v>22</c:v>
                </c:pt>
                <c:pt idx="14">
                  <c:v>25</c:v>
                </c:pt>
                <c:pt idx="15">
                  <c:v>21</c:v>
                </c:pt>
                <c:pt idx="16">
                  <c:v>23</c:v>
                </c:pt>
                <c:pt idx="17">
                  <c:v>17</c:v>
                </c:pt>
                <c:pt idx="18">
                  <c:v>18</c:v>
                </c:pt>
                <c:pt idx="19">
                  <c:v>23</c:v>
                </c:pt>
                <c:pt idx="20">
                  <c:v>21</c:v>
                </c:pt>
                <c:pt idx="21">
                  <c:v>19</c:v>
                </c:pt>
                <c:pt idx="22">
                  <c:v>21</c:v>
                </c:pt>
                <c:pt idx="23">
                  <c:v>23</c:v>
                </c:pt>
                <c:pt idx="24">
                  <c:v>20</c:v>
                </c:pt>
                <c:pt idx="25">
                  <c:v>19</c:v>
                </c:pt>
                <c:pt idx="26">
                  <c:v>28</c:v>
                </c:pt>
                <c:pt idx="27">
                  <c:v>26</c:v>
                </c:pt>
                <c:pt idx="28">
                  <c:v>36</c:v>
                </c:pt>
                <c:pt idx="29">
                  <c:v>38</c:v>
                </c:pt>
                <c:pt idx="30">
                  <c:v>40</c:v>
                </c:pt>
                <c:pt idx="31">
                  <c:v>37</c:v>
                </c:pt>
                <c:pt idx="32">
                  <c:v>42</c:v>
                </c:pt>
                <c:pt idx="33">
                  <c:v>47</c:v>
                </c:pt>
                <c:pt idx="34">
                  <c:v>53</c:v>
                </c:pt>
                <c:pt idx="35">
                  <c:v>61</c:v>
                </c:pt>
                <c:pt idx="36">
                  <c:v>57</c:v>
                </c:pt>
                <c:pt idx="37">
                  <c:v>66</c:v>
                </c:pt>
                <c:pt idx="38">
                  <c:v>62</c:v>
                </c:pt>
                <c:pt idx="39">
                  <c:v>67</c:v>
                </c:pt>
                <c:pt idx="40">
                  <c:v>91</c:v>
                </c:pt>
                <c:pt idx="41">
                  <c:v>96</c:v>
                </c:pt>
                <c:pt idx="42">
                  <c:v>97</c:v>
                </c:pt>
                <c:pt idx="43">
                  <c:v>101</c:v>
                </c:pt>
                <c:pt idx="44">
                  <c:v>111</c:v>
                </c:pt>
                <c:pt idx="45">
                  <c:v>108</c:v>
                </c:pt>
                <c:pt idx="46">
                  <c:v>116</c:v>
                </c:pt>
                <c:pt idx="47">
                  <c:v>139</c:v>
                </c:pt>
                <c:pt idx="48">
                  <c:v>150</c:v>
                </c:pt>
                <c:pt idx="49">
                  <c:v>155</c:v>
                </c:pt>
                <c:pt idx="50">
                  <c:v>158</c:v>
                </c:pt>
                <c:pt idx="51">
                  <c:v>164</c:v>
                </c:pt>
                <c:pt idx="52">
                  <c:v>169</c:v>
                </c:pt>
                <c:pt idx="53">
                  <c:v>183</c:v>
                </c:pt>
                <c:pt idx="54">
                  <c:v>223</c:v>
                </c:pt>
                <c:pt idx="55">
                  <c:v>252</c:v>
                </c:pt>
                <c:pt idx="56">
                  <c:v>285</c:v>
                </c:pt>
                <c:pt idx="57">
                  <c:v>278</c:v>
                </c:pt>
                <c:pt idx="58">
                  <c:v>326</c:v>
                </c:pt>
                <c:pt idx="59">
                  <c:v>302</c:v>
                </c:pt>
                <c:pt idx="60">
                  <c:v>325</c:v>
                </c:pt>
                <c:pt idx="61">
                  <c:v>398</c:v>
                </c:pt>
                <c:pt idx="62">
                  <c:v>421</c:v>
                </c:pt>
                <c:pt idx="63">
                  <c:v>454</c:v>
                </c:pt>
                <c:pt idx="64">
                  <c:v>481</c:v>
                </c:pt>
                <c:pt idx="65">
                  <c:v>482</c:v>
                </c:pt>
                <c:pt idx="66">
                  <c:v>474</c:v>
                </c:pt>
                <c:pt idx="67">
                  <c:v>4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57.082511827000125</c:v>
                </c:pt>
                <c:pt idx="50">
                  <c:v>57.280952244239046</c:v>
                </c:pt>
                <c:pt idx="51">
                  <c:v>57.449249616010839</c:v>
                </c:pt>
                <c:pt idx="52">
                  <c:v>57.592203427457896</c:v>
                </c:pt>
                <c:pt idx="53">
                  <c:v>57.71415575825111</c:v>
                </c:pt>
                <c:pt idx="54">
                  <c:v>57.818479868866781</c:v>
                </c:pt>
                <c:pt idx="55">
                  <c:v>57.907736328626967</c:v>
                </c:pt>
                <c:pt idx="56">
                  <c:v>57.984076364611347</c:v>
                </c:pt>
                <c:pt idx="57">
                  <c:v>58.049117904461653</c:v>
                </c:pt>
                <c:pt idx="58">
                  <c:v>58.10453315088575</c:v>
                </c:pt>
                <c:pt idx="59">
                  <c:v>58.151746816849247</c:v>
                </c:pt>
                <c:pt idx="60">
                  <c:v>58.191972754611065</c:v>
                </c:pt>
                <c:pt idx="61">
                  <c:v>58.226245163579883</c:v>
                </c:pt>
                <c:pt idx="62">
                  <c:v>58.255445179337883</c:v>
                </c:pt>
                <c:pt idx="63">
                  <c:v>58.280323527429587</c:v>
                </c:pt>
                <c:pt idx="64">
                  <c:v>58.301519824339209</c:v>
                </c:pt>
                <c:pt idx="65">
                  <c:v>58.319579021880166</c:v>
                </c:pt>
                <c:pt idx="66">
                  <c:v>58.334965417778179</c:v>
                </c:pt>
                <c:pt idx="67">
                  <c:v>58.348074592656701</c:v>
                </c:pt>
                <c:pt idx="68">
                  <c:v>58.359243580321824</c:v>
                </c:pt>
                <c:pt idx="69">
                  <c:v>58.368759532822246</c:v>
                </c:pt>
                <c:pt idx="70">
                  <c:v>58.376867103060953</c:v>
                </c:pt>
                <c:pt idx="71">
                  <c:v>58.38377473476389</c:v>
                </c:pt>
                <c:pt idx="72">
                  <c:v>58.389660021519177</c:v>
                </c:pt>
                <c:pt idx="73">
                  <c:v>58.394674272666535</c:v>
                </c:pt>
                <c:pt idx="74">
                  <c:v>58.398946403424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0.233578005054625</c:v>
                </c:pt>
                <c:pt idx="50">
                  <c:v>71.830404363305419</c:v>
                </c:pt>
                <c:pt idx="51">
                  <c:v>73.440085129695262</c:v>
                </c:pt>
                <c:pt idx="52">
                  <c:v>75.064502585682121</c:v>
                </c:pt>
                <c:pt idx="53">
                  <c:v>76.705124348728617</c:v>
                </c:pt>
                <c:pt idx="54">
                  <c:v>78.363117486867154</c:v>
                </c:pt>
                <c:pt idx="55">
                  <c:v>80.039260308725275</c:v>
                </c:pt>
                <c:pt idx="56">
                  <c:v>81.734127407123864</c:v>
                </c:pt>
                <c:pt idx="57">
                  <c:v>83.44819293383263</c:v>
                </c:pt>
                <c:pt idx="58">
                  <c:v>85.181674357023496</c:v>
                </c:pt>
                <c:pt idx="59">
                  <c:v>86.934791608216216</c:v>
                </c:pt>
                <c:pt idx="60">
                  <c:v>88.707767110181607</c:v>
                </c:pt>
                <c:pt idx="61">
                  <c:v>90.500825805160957</c:v>
                </c:pt>
                <c:pt idx="62">
                  <c:v>92.31419518340509</c:v>
                </c:pt>
                <c:pt idx="63">
                  <c:v>94.148105312036648</c:v>
                </c:pt>
                <c:pt idx="64">
                  <c:v>96.002788864239335</c:v>
                </c:pt>
                <c:pt idx="65">
                  <c:v>97.878481148777809</c:v>
                </c:pt>
                <c:pt idx="66">
                  <c:v>99.775420139851974</c:v>
                </c:pt>
                <c:pt idx="67">
                  <c:v>101.69384650728931</c:v>
                </c:pt>
                <c:pt idx="68">
                  <c:v>103.63400364707945</c:v>
                </c:pt>
                <c:pt idx="69">
                  <c:v>105.59613771225443</c:v>
                </c:pt>
                <c:pt idx="70">
                  <c:v>107.58049764411875</c:v>
                </c:pt>
                <c:pt idx="71">
                  <c:v>109.58733520383335</c:v>
                </c:pt>
                <c:pt idx="72">
                  <c:v>111.61690500435711</c:v>
                </c:pt>
                <c:pt idx="73">
                  <c:v>113.66946454275038</c:v>
                </c:pt>
                <c:pt idx="74">
                  <c:v>115.74527423284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88.903360201215875</c:v>
                </c:pt>
                <c:pt idx="50">
                  <c:v>92.645377870237184</c:v>
                </c:pt>
                <c:pt idx="51">
                  <c:v>96.519644008253138</c:v>
                </c:pt>
                <c:pt idx="52">
                  <c:v>100.52985318004556</c:v>
                </c:pt>
                <c:pt idx="53">
                  <c:v>104.67977824021088</c:v>
                </c:pt>
                <c:pt idx="54">
                  <c:v>108.97325016590324</c:v>
                </c:pt>
                <c:pt idx="55">
                  <c:v>113.41411696728156</c:v>
                </c:pt>
                <c:pt idx="56">
                  <c:v>118.00624028521955</c:v>
                </c:pt>
                <c:pt idx="57">
                  <c:v>122.75349758562153</c:v>
                </c:pt>
                <c:pt idx="58">
                  <c:v>127.66112970172497</c:v>
                </c:pt>
                <c:pt idx="59">
                  <c:v>132.73455451587407</c:v>
                </c:pt>
                <c:pt idx="60">
                  <c:v>137.97937294070348</c:v>
                </c:pt>
                <c:pt idx="61">
                  <c:v>143.40137510238202</c:v>
                </c:pt>
                <c:pt idx="62">
                  <c:v>149.00654673274269</c:v>
                </c:pt>
                <c:pt idx="63">
                  <c:v>154.80107577735561</c:v>
                </c:pt>
                <c:pt idx="64">
                  <c:v>160.79135922683884</c:v>
                </c:pt>
                <c:pt idx="65">
                  <c:v>166.98401017894912</c:v>
                </c:pt>
                <c:pt idx="66">
                  <c:v>173.38586513924827</c:v>
                </c:pt>
                <c:pt idx="67">
                  <c:v>180.00399156840552</c:v>
                </c:pt>
                <c:pt idx="68">
                  <c:v>186.84569568446742</c:v>
                </c:pt>
                <c:pt idx="69">
                  <c:v>193.91853052870877</c:v>
                </c:pt>
                <c:pt idx="70">
                  <c:v>201.23030430396949</c:v>
                </c:pt>
                <c:pt idx="71">
                  <c:v>208.78908899468215</c:v>
                </c:pt>
                <c:pt idx="72">
                  <c:v>216.60322927810665</c:v>
                </c:pt>
                <c:pt idx="73">
                  <c:v>224.68135173661011</c:v>
                </c:pt>
                <c:pt idx="74">
                  <c:v>233.03237438116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5.20407817151519</c:v>
                </c:pt>
                <c:pt idx="50">
                  <c:v>156.41093167437012</c:v>
                </c:pt>
                <c:pt idx="51">
                  <c:v>168.42771492354916</c:v>
                </c:pt>
                <c:pt idx="52">
                  <c:v>181.61088073893518</c:v>
                </c:pt>
                <c:pt idx="53">
                  <c:v>196.26170475696077</c:v>
                </c:pt>
                <c:pt idx="54">
                  <c:v>212.39122804134831</c:v>
                </c:pt>
                <c:pt idx="55">
                  <c:v>229.74863508636395</c:v>
                </c:pt>
                <c:pt idx="56">
                  <c:v>248.45609364134941</c:v>
                </c:pt>
                <c:pt idx="57">
                  <c:v>269.31220552114212</c:v>
                </c:pt>
                <c:pt idx="58">
                  <c:v>291.98492379107216</c:v>
                </c:pt>
                <c:pt idx="59">
                  <c:v>316.68437295142104</c:v>
                </c:pt>
                <c:pt idx="60">
                  <c:v>343.45647215070971</c:v>
                </c:pt>
                <c:pt idx="61">
                  <c:v>372.05772024838416</c:v>
                </c:pt>
                <c:pt idx="62">
                  <c:v>401.94356555047949</c:v>
                </c:pt>
                <c:pt idx="63">
                  <c:v>432.09805957155129</c:v>
                </c:pt>
                <c:pt idx="64">
                  <c:v>462.31133308104967</c:v>
                </c:pt>
                <c:pt idx="65">
                  <c:v>492.86293568452368</c:v>
                </c:pt>
                <c:pt idx="66">
                  <c:v>523.07036471263382</c:v>
                </c:pt>
                <c:pt idx="67">
                  <c:v>552.59937062328299</c:v>
                </c:pt>
                <c:pt idx="68">
                  <c:v>581.51677802552308</c:v>
                </c:pt>
                <c:pt idx="69">
                  <c:v>609.71321012492308</c:v>
                </c:pt>
                <c:pt idx="70">
                  <c:v>637.05371488155845</c:v>
                </c:pt>
                <c:pt idx="71">
                  <c:v>663.60863715211724</c:v>
                </c:pt>
                <c:pt idx="72">
                  <c:v>689.30218743758564</c:v>
                </c:pt>
                <c:pt idx="73">
                  <c:v>713.94258825777035</c:v>
                </c:pt>
                <c:pt idx="74">
                  <c:v>737.65635050636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7</c:v>
                </c:pt>
                <c:pt idx="1">
                  <c:v>8</c:v>
                </c:pt>
                <c:pt idx="2">
                  <c:v>9</c:v>
                </c:pt>
                <c:pt idx="3">
                  <c:v>8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6</c:v>
                </c:pt>
                <c:pt idx="11">
                  <c:v>7</c:v>
                </c:pt>
                <c:pt idx="12">
                  <c:v>9</c:v>
                </c:pt>
                <c:pt idx="13">
                  <c:v>8</c:v>
                </c:pt>
                <c:pt idx="14">
                  <c:v>8</c:v>
                </c:pt>
                <c:pt idx="15">
                  <c:v>7</c:v>
                </c:pt>
                <c:pt idx="16">
                  <c:v>5</c:v>
                </c:pt>
                <c:pt idx="17">
                  <c:v>3</c:v>
                </c:pt>
                <c:pt idx="18">
                  <c:v>2</c:v>
                </c:pt>
                <c:pt idx="19">
                  <c:v>3</c:v>
                </c:pt>
                <c:pt idx="20">
                  <c:v>1</c:v>
                </c:pt>
                <c:pt idx="21">
                  <c:v>3</c:v>
                </c:pt>
                <c:pt idx="22">
                  <c:v>5</c:v>
                </c:pt>
                <c:pt idx="23">
                  <c:v>6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  <c:pt idx="31">
                  <c:v>9</c:v>
                </c:pt>
                <c:pt idx="32">
                  <c:v>13</c:v>
                </c:pt>
                <c:pt idx="33">
                  <c:v>15</c:v>
                </c:pt>
                <c:pt idx="34">
                  <c:v>9</c:v>
                </c:pt>
                <c:pt idx="35">
                  <c:v>12</c:v>
                </c:pt>
                <c:pt idx="36">
                  <c:v>18</c:v>
                </c:pt>
                <c:pt idx="37">
                  <c:v>21</c:v>
                </c:pt>
                <c:pt idx="38">
                  <c:v>22</c:v>
                </c:pt>
                <c:pt idx="39">
                  <c:v>23</c:v>
                </c:pt>
                <c:pt idx="40">
                  <c:v>28</c:v>
                </c:pt>
                <c:pt idx="41">
                  <c:v>30</c:v>
                </c:pt>
                <c:pt idx="42">
                  <c:v>33</c:v>
                </c:pt>
                <c:pt idx="43">
                  <c:v>35</c:v>
                </c:pt>
                <c:pt idx="44">
                  <c:v>39</c:v>
                </c:pt>
                <c:pt idx="45">
                  <c:v>37</c:v>
                </c:pt>
                <c:pt idx="46">
                  <c:v>37</c:v>
                </c:pt>
                <c:pt idx="47">
                  <c:v>47</c:v>
                </c:pt>
                <c:pt idx="48">
                  <c:v>47</c:v>
                </c:pt>
                <c:pt idx="49">
                  <c:v>52</c:v>
                </c:pt>
                <c:pt idx="50">
                  <c:v>51</c:v>
                </c:pt>
                <c:pt idx="51">
                  <c:v>62</c:v>
                </c:pt>
                <c:pt idx="52">
                  <c:v>58</c:v>
                </c:pt>
                <c:pt idx="53">
                  <c:v>55</c:v>
                </c:pt>
                <c:pt idx="54">
                  <c:v>62</c:v>
                </c:pt>
                <c:pt idx="55">
                  <c:v>79</c:v>
                </c:pt>
                <c:pt idx="56">
                  <c:v>88</c:v>
                </c:pt>
                <c:pt idx="57">
                  <c:v>77</c:v>
                </c:pt>
                <c:pt idx="58">
                  <c:v>95</c:v>
                </c:pt>
                <c:pt idx="59">
                  <c:v>97</c:v>
                </c:pt>
                <c:pt idx="60">
                  <c:v>105</c:v>
                </c:pt>
                <c:pt idx="61">
                  <c:v>134</c:v>
                </c:pt>
                <c:pt idx="62">
                  <c:v>138</c:v>
                </c:pt>
                <c:pt idx="63">
                  <c:v>151</c:v>
                </c:pt>
                <c:pt idx="64">
                  <c:v>167</c:v>
                </c:pt>
                <c:pt idx="65">
                  <c:v>182</c:v>
                </c:pt>
                <c:pt idx="66">
                  <c:v>178</c:v>
                </c:pt>
                <c:pt idx="67">
                  <c:v>1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9.188558993840431</c:v>
                </c:pt>
                <c:pt idx="50">
                  <c:v>19.255265687906235</c:v>
                </c:pt>
                <c:pt idx="51">
                  <c:v>19.311839653266038</c:v>
                </c:pt>
                <c:pt idx="52">
                  <c:v>19.35989425977424</c:v>
                </c:pt>
                <c:pt idx="53">
                  <c:v>19.400889118251282</c:v>
                </c:pt>
                <c:pt idx="54">
                  <c:v>19.435958166317977</c:v>
                </c:pt>
                <c:pt idx="55">
                  <c:v>19.46596215158198</c:v>
                </c:pt>
                <c:pt idx="56">
                  <c:v>19.491624219301034</c:v>
                </c:pt>
                <c:pt idx="57">
                  <c:v>19.513488243579612</c:v>
                </c:pt>
                <c:pt idx="58">
                  <c:v>19.53211634334491</c:v>
                </c:pt>
                <c:pt idx="59">
                  <c:v>19.547987442665164</c:v>
                </c:pt>
                <c:pt idx="60">
                  <c:v>19.561509583774942</c:v>
                </c:pt>
                <c:pt idx="61">
                  <c:v>19.573030417745112</c:v>
                </c:pt>
                <c:pt idx="62">
                  <c:v>19.582846142510196</c:v>
                </c:pt>
                <c:pt idx="63">
                  <c:v>19.591209118047672</c:v>
                </c:pt>
                <c:pt idx="64">
                  <c:v>19.598334354493716</c:v>
                </c:pt>
                <c:pt idx="65">
                  <c:v>19.60440504000325</c:v>
                </c:pt>
                <c:pt idx="66">
                  <c:v>19.609577250474405</c:v>
                </c:pt>
                <c:pt idx="67">
                  <c:v>19.613983962223173</c:v>
                </c:pt>
                <c:pt idx="68">
                  <c:v>19.61773847077324</c:v>
                </c:pt>
                <c:pt idx="69">
                  <c:v>19.620937303657296</c:v>
                </c:pt>
                <c:pt idx="70">
                  <c:v>19.623662702117226</c:v>
                </c:pt>
                <c:pt idx="71">
                  <c:v>19.625984735507089</c:v>
                </c:pt>
                <c:pt idx="72">
                  <c:v>19.627963102759775</c:v>
                </c:pt>
                <c:pt idx="73">
                  <c:v>19.629648667232527</c:v>
                </c:pt>
                <c:pt idx="74">
                  <c:v>19.631084764391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3.609352703029245</c:v>
                </c:pt>
                <c:pt idx="50">
                  <c:v>24.14613351027679</c:v>
                </c:pt>
                <c:pt idx="51">
                  <c:v>24.687235388216791</c:v>
                </c:pt>
                <c:pt idx="52">
                  <c:v>25.233291074751669</c:v>
                </c:pt>
                <c:pt idx="53">
                  <c:v>25.784793916501275</c:v>
                </c:pt>
                <c:pt idx="54">
                  <c:v>26.342136228958971</c:v>
                </c:pt>
                <c:pt idx="55">
                  <c:v>26.905579644287339</c:v>
                </c:pt>
                <c:pt idx="56">
                  <c:v>27.475317314607544</c:v>
                </c:pt>
                <c:pt idx="57">
                  <c:v>28.051508628301658</c:v>
                </c:pt>
                <c:pt idx="58">
                  <c:v>28.634226688334383</c:v>
                </c:pt>
                <c:pt idx="59">
                  <c:v>29.223545425736528</c:v>
                </c:pt>
                <c:pt idx="60">
                  <c:v>29.819539608984869</c:v>
                </c:pt>
                <c:pt idx="61">
                  <c:v>30.422284853488208</c:v>
                </c:pt>
                <c:pt idx="62">
                  <c:v>31.031857631180912</c:v>
                </c:pt>
                <c:pt idx="63">
                  <c:v>31.648335280225137</c:v>
                </c:pt>
                <c:pt idx="64">
                  <c:v>32.271796014822897</c:v>
                </c:pt>
                <c:pt idx="65">
                  <c:v>32.902318935139341</c:v>
                </c:pt>
                <c:pt idx="66">
                  <c:v>33.539984037338392</c:v>
                </c:pt>
                <c:pt idx="67">
                  <c:v>34.184872223732079</c:v>
                </c:pt>
                <c:pt idx="68">
                  <c:v>34.837065313044853</c:v>
                </c:pt>
                <c:pt idx="69">
                  <c:v>35.496646050794112</c:v>
                </c:pt>
                <c:pt idx="70">
                  <c:v>36.163698119788414</c:v>
                </c:pt>
                <c:pt idx="71">
                  <c:v>36.838306150744465</c:v>
                </c:pt>
                <c:pt idx="72">
                  <c:v>37.520555733024523</c:v>
                </c:pt>
                <c:pt idx="73">
                  <c:v>38.210533425495292</c:v>
                </c:pt>
                <c:pt idx="74">
                  <c:v>38.908326767509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9.885289160747295</c:v>
                </c:pt>
                <c:pt idx="50">
                  <c:v>31.14318627318735</c:v>
                </c:pt>
                <c:pt idx="51">
                  <c:v>32.445539340138303</c:v>
                </c:pt>
                <c:pt idx="52">
                  <c:v>33.79359030719791</c:v>
                </c:pt>
                <c:pt idx="53">
                  <c:v>35.188607437459041</c:v>
                </c:pt>
                <c:pt idx="54">
                  <c:v>36.631878532189965</c:v>
                </c:pt>
                <c:pt idx="55">
                  <c:v>38.124697118384859</c:v>
                </c:pt>
                <c:pt idx="56">
                  <c:v>39.668361305067762</c:v>
                </c:pt>
                <c:pt idx="57">
                  <c:v>41.26417452092236</c:v>
                </c:pt>
                <c:pt idx="58">
                  <c:v>42.913898497073212</c:v>
                </c:pt>
                <c:pt idx="59">
                  <c:v>44.619354480547756</c:v>
                </c:pt>
                <c:pt idx="60">
                  <c:v>46.382425244879769</c:v>
                </c:pt>
                <c:pt idx="61">
                  <c:v>48.20505716863628</c:v>
                </c:pt>
                <c:pt idx="62">
                  <c:v>50.089262384162602</c:v>
                </c:pt>
                <c:pt idx="63">
                  <c:v>52.037120998917608</c:v>
                </c:pt>
                <c:pt idx="64">
                  <c:v>54.05078339185151</c:v>
                </c:pt>
                <c:pt idx="65">
                  <c:v>56.13247258736137</c:v>
                </c:pt>
                <c:pt idx="66">
                  <c:v>58.284486709445005</c:v>
                </c:pt>
                <c:pt idx="67">
                  <c:v>60.509201518762687</c:v>
                </c:pt>
                <c:pt idx="68">
                  <c:v>62.80907303540743</c:v>
                </c:pt>
                <c:pt idx="69">
                  <c:v>65.186640250279382</c:v>
                </c:pt>
                <c:pt idx="70">
                  <c:v>67.644527928057471</c:v>
                </c:pt>
                <c:pt idx="71">
                  <c:v>70.18544950486293</c:v>
                </c:pt>
                <c:pt idx="72">
                  <c:v>72.812210083813369</c:v>
                </c:pt>
                <c:pt idx="73">
                  <c:v>75.527709531774619</c:v>
                </c:pt>
                <c:pt idx="74">
                  <c:v>78.33494568072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48.802688970947983</c:v>
                </c:pt>
                <c:pt idx="50">
                  <c:v>52.562204227836702</c:v>
                </c:pt>
                <c:pt idx="51">
                  <c:v>56.593208875527338</c:v>
                </c:pt>
                <c:pt idx="52">
                  <c:v>61.014861834027826</c:v>
                </c:pt>
                <c:pt idx="53">
                  <c:v>65.928996787170433</c:v>
                </c:pt>
                <c:pt idx="54">
                  <c:v>71.339349873204156</c:v>
                </c:pt>
                <c:pt idx="55">
                  <c:v>77.160711170799132</c:v>
                </c:pt>
                <c:pt idx="56">
                  <c:v>83.43449900687402</c:v>
                </c:pt>
                <c:pt idx="57">
                  <c:v>90.430166268059423</c:v>
                </c:pt>
                <c:pt idx="58">
                  <c:v>98.03577933834913</c:v>
                </c:pt>
                <c:pt idx="59">
                  <c:v>106.32254750454011</c:v>
                </c:pt>
                <c:pt idx="60">
                  <c:v>115.30516535271454</c:v>
                </c:pt>
                <c:pt idx="61">
                  <c:v>124.90134664538283</c:v>
                </c:pt>
                <c:pt idx="62">
                  <c:v>134.92960166863406</c:v>
                </c:pt>
                <c:pt idx="63">
                  <c:v>145.04814824175369</c:v>
                </c:pt>
                <c:pt idx="64">
                  <c:v>155.18719114344256</c:v>
                </c:pt>
                <c:pt idx="65">
                  <c:v>165.44218881105351</c:v>
                </c:pt>
                <c:pt idx="66">
                  <c:v>175.58299961535226</c:v>
                </c:pt>
                <c:pt idx="67">
                  <c:v>185.49669650438571</c:v>
                </c:pt>
                <c:pt idx="68">
                  <c:v>195.20624561126462</c:v>
                </c:pt>
                <c:pt idx="69">
                  <c:v>204.67491137722823</c:v>
                </c:pt>
                <c:pt idx="70">
                  <c:v>213.85719293255943</c:v>
                </c:pt>
                <c:pt idx="71">
                  <c:v>222.77686504895556</c:v>
                </c:pt>
                <c:pt idx="72">
                  <c:v>231.40839128791251</c:v>
                </c:pt>
                <c:pt idx="73">
                  <c:v>239.68686618298676</c:v>
                </c:pt>
                <c:pt idx="74">
                  <c:v>247.65484054338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5</c:v>
                </c:pt>
                <c:pt idx="4">
                  <c:v>8</c:v>
                </c:pt>
                <c:pt idx="5">
                  <c:v>9</c:v>
                </c:pt>
                <c:pt idx="6">
                  <c:v>12</c:v>
                </c:pt>
                <c:pt idx="7">
                  <c:v>11</c:v>
                </c:pt>
                <c:pt idx="8">
                  <c:v>11</c:v>
                </c:pt>
                <c:pt idx="9">
                  <c:v>10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3</c:v>
                </c:pt>
                <c:pt idx="14">
                  <c:v>13</c:v>
                </c:pt>
                <c:pt idx="15">
                  <c:v>13</c:v>
                </c:pt>
                <c:pt idx="16">
                  <c:v>13</c:v>
                </c:pt>
                <c:pt idx="17">
                  <c:v>12</c:v>
                </c:pt>
                <c:pt idx="18">
                  <c:v>14</c:v>
                </c:pt>
                <c:pt idx="19">
                  <c:v>14</c:v>
                </c:pt>
                <c:pt idx="20">
                  <c:v>12</c:v>
                </c:pt>
                <c:pt idx="21">
                  <c:v>12</c:v>
                </c:pt>
                <c:pt idx="22">
                  <c:v>8</c:v>
                </c:pt>
                <c:pt idx="23">
                  <c:v>9</c:v>
                </c:pt>
                <c:pt idx="24">
                  <c:v>10</c:v>
                </c:pt>
                <c:pt idx="25">
                  <c:v>11</c:v>
                </c:pt>
                <c:pt idx="26">
                  <c:v>12</c:v>
                </c:pt>
                <c:pt idx="27">
                  <c:v>11</c:v>
                </c:pt>
                <c:pt idx="28">
                  <c:v>12</c:v>
                </c:pt>
                <c:pt idx="29">
                  <c:v>13</c:v>
                </c:pt>
                <c:pt idx="30">
                  <c:v>12</c:v>
                </c:pt>
                <c:pt idx="31">
                  <c:v>12</c:v>
                </c:pt>
                <c:pt idx="32">
                  <c:v>13</c:v>
                </c:pt>
                <c:pt idx="33">
                  <c:v>14</c:v>
                </c:pt>
                <c:pt idx="34">
                  <c:v>13</c:v>
                </c:pt>
                <c:pt idx="35">
                  <c:v>15</c:v>
                </c:pt>
                <c:pt idx="36">
                  <c:v>18</c:v>
                </c:pt>
                <c:pt idx="37">
                  <c:v>20</c:v>
                </c:pt>
                <c:pt idx="38">
                  <c:v>18</c:v>
                </c:pt>
                <c:pt idx="39">
                  <c:v>19</c:v>
                </c:pt>
                <c:pt idx="40">
                  <c:v>24</c:v>
                </c:pt>
                <c:pt idx="41">
                  <c:v>28</c:v>
                </c:pt>
                <c:pt idx="42">
                  <c:v>27</c:v>
                </c:pt>
                <c:pt idx="43">
                  <c:v>30</c:v>
                </c:pt>
                <c:pt idx="44">
                  <c:v>34</c:v>
                </c:pt>
                <c:pt idx="45">
                  <c:v>39</c:v>
                </c:pt>
                <c:pt idx="46">
                  <c:v>43</c:v>
                </c:pt>
                <c:pt idx="47">
                  <c:v>55</c:v>
                </c:pt>
                <c:pt idx="48">
                  <c:v>53</c:v>
                </c:pt>
                <c:pt idx="49">
                  <c:v>68</c:v>
                </c:pt>
                <c:pt idx="50">
                  <c:v>71</c:v>
                </c:pt>
                <c:pt idx="51">
                  <c:v>78</c:v>
                </c:pt>
                <c:pt idx="52">
                  <c:v>81</c:v>
                </c:pt>
                <c:pt idx="53">
                  <c:v>86</c:v>
                </c:pt>
                <c:pt idx="54">
                  <c:v>95</c:v>
                </c:pt>
                <c:pt idx="55">
                  <c:v>105</c:v>
                </c:pt>
                <c:pt idx="56">
                  <c:v>125</c:v>
                </c:pt>
                <c:pt idx="57">
                  <c:v>124</c:v>
                </c:pt>
                <c:pt idx="58">
                  <c:v>132</c:v>
                </c:pt>
                <c:pt idx="59">
                  <c:v>153</c:v>
                </c:pt>
                <c:pt idx="60">
                  <c:v>157</c:v>
                </c:pt>
                <c:pt idx="61">
                  <c:v>187</c:v>
                </c:pt>
                <c:pt idx="62">
                  <c:v>201</c:v>
                </c:pt>
                <c:pt idx="63">
                  <c:v>199</c:v>
                </c:pt>
                <c:pt idx="64">
                  <c:v>220</c:v>
                </c:pt>
                <c:pt idx="65">
                  <c:v>220</c:v>
                </c:pt>
                <c:pt idx="66">
                  <c:v>227</c:v>
                </c:pt>
                <c:pt idx="67">
                  <c:v>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6.436036311657855</c:v>
                </c:pt>
                <c:pt idx="50">
                  <c:v>26.527937980101033</c:v>
                </c:pt>
                <c:pt idx="51">
                  <c:v>26.605879810075152</c:v>
                </c:pt>
                <c:pt idx="52">
                  <c:v>26.672084537746521</c:v>
                </c:pt>
                <c:pt idx="53">
                  <c:v>26.72856306579223</c:v>
                </c:pt>
                <c:pt idx="54">
                  <c:v>26.776877617625125</c:v>
                </c:pt>
                <c:pt idx="55">
                  <c:v>26.818214043366538</c:v>
                </c:pt>
                <c:pt idx="56">
                  <c:v>26.853568618677322</c:v>
                </c:pt>
                <c:pt idx="57">
                  <c:v>26.883690637737377</c:v>
                </c:pt>
                <c:pt idx="58">
                  <c:v>26.909354530579495</c:v>
                </c:pt>
                <c:pt idx="59">
                  <c:v>26.931220109858838</c:v>
                </c:pt>
                <c:pt idx="60">
                  <c:v>26.949849534481302</c:v>
                </c:pt>
                <c:pt idx="61">
                  <c:v>26.965721762576898</c:v>
                </c:pt>
                <c:pt idx="62">
                  <c:v>26.979244865400734</c:v>
                </c:pt>
                <c:pt idx="63">
                  <c:v>26.99076651874913</c:v>
                </c:pt>
                <c:pt idx="64">
                  <c:v>27.000582941622632</c:v>
                </c:pt>
                <c:pt idx="65">
                  <c:v>27.00894651194692</c:v>
                </c:pt>
                <c:pt idx="66">
                  <c:v>27.016072255149989</c:v>
                </c:pt>
                <c:pt idx="67">
                  <c:v>27.022143372415375</c:v>
                </c:pt>
                <c:pt idx="68">
                  <c:v>27.027315950741546</c:v>
                </c:pt>
                <c:pt idx="69">
                  <c:v>27.031722975901957</c:v>
                </c:pt>
                <c:pt idx="70">
                  <c:v>27.035477751478044</c:v>
                </c:pt>
                <c:pt idx="71">
                  <c:v>27.038676811867678</c:v>
                </c:pt>
                <c:pt idx="72">
                  <c:v>27.041402404161843</c:v>
                </c:pt>
                <c:pt idx="73">
                  <c:v>27.043724602698045</c:v>
                </c:pt>
                <c:pt idx="74">
                  <c:v>27.04570311065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2.526554263525902</c:v>
                </c:pt>
                <c:pt idx="50">
                  <c:v>33.266076023151115</c:v>
                </c:pt>
                <c:pt idx="51">
                  <c:v>34.011550912543271</c:v>
                </c:pt>
                <c:pt idx="52">
                  <c:v>34.763850653344925</c:v>
                </c:pt>
                <c:pt idx="53">
                  <c:v>35.523654928129453</c:v>
                </c:pt>
                <c:pt idx="54">
                  <c:v>36.291504229105342</c:v>
                </c:pt>
                <c:pt idx="55">
                  <c:v>37.067759006338306</c:v>
                </c:pt>
                <c:pt idx="56">
                  <c:v>37.852685365088803</c:v>
                </c:pt>
                <c:pt idx="57">
                  <c:v>38.646502894386813</c:v>
                </c:pt>
                <c:pt idx="58">
                  <c:v>39.449312308029022</c:v>
                </c:pt>
                <c:pt idx="59">
                  <c:v>40.261215460637011</c:v>
                </c:pt>
                <c:pt idx="60">
                  <c:v>41.082315360579869</c:v>
                </c:pt>
                <c:pt idx="61">
                  <c:v>41.912716183043102</c:v>
                </c:pt>
                <c:pt idx="62">
                  <c:v>42.752523283245644</c:v>
                </c:pt>
                <c:pt idx="63">
                  <c:v>43.601843209806567</c:v>
                </c:pt>
                <c:pt idx="64">
                  <c:v>44.460783718263194</c:v>
                </c:pt>
                <c:pt idx="65">
                  <c:v>45.32945378474232</c:v>
                </c:pt>
                <c:pt idx="66">
                  <c:v>46.207963619786341</c:v>
                </c:pt>
                <c:pt idx="67">
                  <c:v>47.096424682335922</c:v>
                </c:pt>
                <c:pt idx="68">
                  <c:v>47.994949693871135</c:v>
                </c:pt>
                <c:pt idx="69">
                  <c:v>48.903652652712751</c:v>
                </c:pt>
                <c:pt idx="70">
                  <c:v>49.822648848485471</c:v>
                </c:pt>
                <c:pt idx="71">
                  <c:v>50.752054876745071</c:v>
                </c:pt>
                <c:pt idx="72">
                  <c:v>51.69198865377119</c:v>
                </c:pt>
                <c:pt idx="73">
                  <c:v>52.642569431527683</c:v>
                </c:pt>
                <c:pt idx="74">
                  <c:v>53.6039178127924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1.172898376137461</c:v>
                </c:pt>
                <c:pt idx="50">
                  <c:v>42.905900513060267</c:v>
                </c:pt>
                <c:pt idx="51">
                  <c:v>44.700149522564637</c:v>
                </c:pt>
                <c:pt idx="52">
                  <c:v>46.557356430420135</c:v>
                </c:pt>
                <c:pt idx="53">
                  <c:v>48.479268519952562</c:v>
                </c:pt>
                <c:pt idx="54">
                  <c:v>50.467659992189766</c:v>
                </c:pt>
                <c:pt idx="55">
                  <c:v>52.524312936479852</c:v>
                </c:pt>
                <c:pt idx="56">
                  <c:v>54.651015754823561</c:v>
                </c:pt>
                <c:pt idx="57">
                  <c:v>56.849564178105254</c:v>
                </c:pt>
                <c:pt idx="58">
                  <c:v>59.122385339492944</c:v>
                </c:pt>
                <c:pt idx="59">
                  <c:v>61.471988367085572</c:v>
                </c:pt>
                <c:pt idx="60">
                  <c:v>63.900967153917087</c:v>
                </c:pt>
                <c:pt idx="61">
                  <c:v>66.41200322153847</c:v>
                </c:pt>
                <c:pt idx="62">
                  <c:v>69.007868680339129</c:v>
                </c:pt>
                <c:pt idx="63">
                  <c:v>71.691429289875686</c:v>
                </c:pt>
                <c:pt idx="64">
                  <c:v>74.465647622586786</c:v>
                </c:pt>
                <c:pt idx="65">
                  <c:v>77.333586334386339</c:v>
                </c:pt>
                <c:pt idx="66">
                  <c:v>80.298411545746177</c:v>
                </c:pt>
                <c:pt idx="67">
                  <c:v>83.363396337000381</c:v>
                </c:pt>
                <c:pt idx="68">
                  <c:v>86.531924361730375</c:v>
                </c:pt>
                <c:pt idx="69">
                  <c:v>89.807493582219422</c:v>
                </c:pt>
                <c:pt idx="70">
                  <c:v>93.193720131100747</c:v>
                </c:pt>
                <c:pt idx="71">
                  <c:v>96.694342303462221</c:v>
                </c:pt>
                <c:pt idx="72">
                  <c:v>100.31322468381481</c:v>
                </c:pt>
                <c:pt idx="73">
                  <c:v>104.05436241248086</c:v>
                </c:pt>
                <c:pt idx="74">
                  <c:v>107.921885596112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67.348522174887407</c:v>
                </c:pt>
                <c:pt idx="50">
                  <c:v>72.63258303148973</c:v>
                </c:pt>
                <c:pt idx="51">
                  <c:v>78.301134806478785</c:v>
                </c:pt>
                <c:pt idx="52">
                  <c:v>84.527340835149133</c:v>
                </c:pt>
                <c:pt idx="53">
                  <c:v>91.443933873211591</c:v>
                </c:pt>
                <c:pt idx="54">
                  <c:v>99.055727584758642</c:v>
                </c:pt>
                <c:pt idx="55">
                  <c:v>107.25747829993659</c:v>
                </c:pt>
                <c:pt idx="56">
                  <c:v>116.10149341246975</c:v>
                </c:pt>
                <c:pt idx="57">
                  <c:v>125.94546653524688</c:v>
                </c:pt>
                <c:pt idx="58">
                  <c:v>136.63944579631828</c:v>
                </c:pt>
                <c:pt idx="59">
                  <c:v>148.27374941430992</c:v>
                </c:pt>
                <c:pt idx="60">
                  <c:v>160.87866271425523</c:v>
                </c:pt>
                <c:pt idx="61">
                  <c:v>174.34667321423507</c:v>
                </c:pt>
                <c:pt idx="62">
                  <c:v>188.40656154297605</c:v>
                </c:pt>
                <c:pt idx="63">
                  <c:v>202.59106104510533</c:v>
                </c:pt>
                <c:pt idx="64">
                  <c:v>216.7938122803362</c:v>
                </c:pt>
                <c:pt idx="65">
                  <c:v>231.1261955206727</c:v>
                </c:pt>
                <c:pt idx="66">
                  <c:v>245.28083013864364</c:v>
                </c:pt>
                <c:pt idx="67">
                  <c:v>259.10982239836221</c:v>
                </c:pt>
                <c:pt idx="68">
                  <c:v>272.63800402496332</c:v>
                </c:pt>
                <c:pt idx="69">
                  <c:v>285.81433148708186</c:v>
                </c:pt>
                <c:pt idx="70">
                  <c:v>298.57796157880693</c:v>
                </c:pt>
                <c:pt idx="71">
                  <c:v>310.95991500498826</c:v>
                </c:pt>
                <c:pt idx="72">
                  <c:v>322.92581525325051</c:v>
                </c:pt>
                <c:pt idx="73">
                  <c:v>334.39218176070801</c:v>
                </c:pt>
                <c:pt idx="74">
                  <c:v>345.41731748894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7</c:v>
                </c:pt>
                <c:pt idx="6">
                  <c:v>6</c:v>
                </c:pt>
                <c:pt idx="7">
                  <c:v>8</c:v>
                </c:pt>
                <c:pt idx="8">
                  <c:v>9</c:v>
                </c:pt>
                <c:pt idx="9">
                  <c:v>9</c:v>
                </c:pt>
                <c:pt idx="10">
                  <c:v>10</c:v>
                </c:pt>
                <c:pt idx="11">
                  <c:v>16</c:v>
                </c:pt>
                <c:pt idx="12">
                  <c:v>22</c:v>
                </c:pt>
                <c:pt idx="13">
                  <c:v>23</c:v>
                </c:pt>
                <c:pt idx="14">
                  <c:v>26</c:v>
                </c:pt>
                <c:pt idx="15">
                  <c:v>27</c:v>
                </c:pt>
                <c:pt idx="16">
                  <c:v>29</c:v>
                </c:pt>
                <c:pt idx="17">
                  <c:v>29</c:v>
                </c:pt>
                <c:pt idx="18">
                  <c:v>31</c:v>
                </c:pt>
                <c:pt idx="19">
                  <c:v>37</c:v>
                </c:pt>
                <c:pt idx="20">
                  <c:v>36</c:v>
                </c:pt>
                <c:pt idx="21">
                  <c:v>42</c:v>
                </c:pt>
                <c:pt idx="22">
                  <c:v>43</c:v>
                </c:pt>
                <c:pt idx="23">
                  <c:v>45</c:v>
                </c:pt>
                <c:pt idx="24">
                  <c:v>52</c:v>
                </c:pt>
                <c:pt idx="25">
                  <c:v>51</c:v>
                </c:pt>
                <c:pt idx="26">
                  <c:v>54</c:v>
                </c:pt>
                <c:pt idx="27">
                  <c:v>51</c:v>
                </c:pt>
                <c:pt idx="28">
                  <c:v>52</c:v>
                </c:pt>
                <c:pt idx="29">
                  <c:v>48</c:v>
                </c:pt>
                <c:pt idx="30">
                  <c:v>46</c:v>
                </c:pt>
                <c:pt idx="31">
                  <c:v>49</c:v>
                </c:pt>
                <c:pt idx="32">
                  <c:v>48</c:v>
                </c:pt>
                <c:pt idx="33">
                  <c:v>57</c:v>
                </c:pt>
                <c:pt idx="34">
                  <c:v>55</c:v>
                </c:pt>
                <c:pt idx="35">
                  <c:v>55</c:v>
                </c:pt>
                <c:pt idx="36">
                  <c:v>61</c:v>
                </c:pt>
                <c:pt idx="37">
                  <c:v>61</c:v>
                </c:pt>
                <c:pt idx="38">
                  <c:v>59</c:v>
                </c:pt>
                <c:pt idx="39">
                  <c:v>58</c:v>
                </c:pt>
                <c:pt idx="40">
                  <c:v>65</c:v>
                </c:pt>
                <c:pt idx="41">
                  <c:v>70</c:v>
                </c:pt>
                <c:pt idx="42">
                  <c:v>86</c:v>
                </c:pt>
                <c:pt idx="43">
                  <c:v>85</c:v>
                </c:pt>
                <c:pt idx="44">
                  <c:v>91</c:v>
                </c:pt>
                <c:pt idx="45">
                  <c:v>94</c:v>
                </c:pt>
                <c:pt idx="46">
                  <c:v>96</c:v>
                </c:pt>
                <c:pt idx="47">
                  <c:v>110</c:v>
                </c:pt>
                <c:pt idx="48">
                  <c:v>136</c:v>
                </c:pt>
                <c:pt idx="49">
                  <c:v>140</c:v>
                </c:pt>
                <c:pt idx="50">
                  <c:v>151</c:v>
                </c:pt>
                <c:pt idx="51">
                  <c:v>174</c:v>
                </c:pt>
                <c:pt idx="52">
                  <c:v>184</c:v>
                </c:pt>
                <c:pt idx="53">
                  <c:v>194</c:v>
                </c:pt>
                <c:pt idx="54">
                  <c:v>236</c:v>
                </c:pt>
                <c:pt idx="55">
                  <c:v>286</c:v>
                </c:pt>
                <c:pt idx="56">
                  <c:v>306</c:v>
                </c:pt>
                <c:pt idx="57">
                  <c:v>317</c:v>
                </c:pt>
                <c:pt idx="58">
                  <c:v>337</c:v>
                </c:pt>
                <c:pt idx="59">
                  <c:v>337</c:v>
                </c:pt>
                <c:pt idx="60">
                  <c:v>350</c:v>
                </c:pt>
                <c:pt idx="61">
                  <c:v>430</c:v>
                </c:pt>
                <c:pt idx="62">
                  <c:v>501</c:v>
                </c:pt>
                <c:pt idx="63">
                  <c:v>549</c:v>
                </c:pt>
                <c:pt idx="64">
                  <c:v>557</c:v>
                </c:pt>
                <c:pt idx="65">
                  <c:v>579</c:v>
                </c:pt>
                <c:pt idx="66">
                  <c:v>575</c:v>
                </c:pt>
                <c:pt idx="67">
                  <c:v>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57.289582607509189</c:v>
                </c:pt>
                <c:pt idx="50">
                  <c:v>57.488742881158899</c:v>
                </c:pt>
                <c:pt idx="51">
                  <c:v>57.657650763348236</c:v>
                </c:pt>
                <c:pt idx="52">
                  <c:v>57.801123149685672</c:v>
                </c:pt>
                <c:pt idx="53">
                  <c:v>57.923517871037994</c:v>
                </c:pt>
                <c:pt idx="54">
                  <c:v>58.028220424618418</c:v>
                </c:pt>
                <c:pt idx="55">
                  <c:v>58.117800668392235</c:v>
                </c:pt>
                <c:pt idx="56">
                  <c:v>58.194417633164953</c:v>
                </c:pt>
                <c:pt idx="57">
                  <c:v>58.259695115723304</c:v>
                </c:pt>
                <c:pt idx="58">
                  <c:v>58.315311384806741</c:v>
                </c:pt>
                <c:pt idx="59">
                  <c:v>58.362696321626203</c:v>
                </c:pt>
                <c:pt idx="60">
                  <c:v>58.403068181774103</c:v>
                </c:pt>
                <c:pt idx="61">
                  <c:v>58.437464916289358</c:v>
                </c:pt>
                <c:pt idx="62">
                  <c:v>58.466770857134755</c:v>
                </c:pt>
                <c:pt idx="63">
                  <c:v>58.491739453163916</c:v>
                </c:pt>
                <c:pt idx="64">
                  <c:v>58.513012641114322</c:v>
                </c:pt>
                <c:pt idx="65">
                  <c:v>58.531137349649988</c:v>
                </c:pt>
                <c:pt idx="66">
                  <c:v>58.546579560768905</c:v>
                </c:pt>
                <c:pt idx="67">
                  <c:v>58.559736290090761</c:v>
                </c:pt>
                <c:pt idx="68">
                  <c:v>58.570945794035204</c:v>
                </c:pt>
                <c:pt idx="69">
                  <c:v>58.580496266314945</c:v>
                </c:pt>
                <c:pt idx="70">
                  <c:v>58.588633247328403</c:v>
                </c:pt>
                <c:pt idx="71">
                  <c:v>58.595565936945619</c:v>
                </c:pt>
                <c:pt idx="72">
                  <c:v>58.601472572987809</c:v>
                </c:pt>
                <c:pt idx="73">
                  <c:v>58.606505013679836</c:v>
                </c:pt>
                <c:pt idx="74">
                  <c:v>58.61079264188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0.48835519249738</c:v>
                </c:pt>
                <c:pt idx="50">
                  <c:v>72.090974149387534</c:v>
                </c:pt>
                <c:pt idx="51">
                  <c:v>73.706494144676014</c:v>
                </c:pt>
                <c:pt idx="52">
                  <c:v>75.336804287927635</c:v>
                </c:pt>
                <c:pt idx="53">
                  <c:v>76.983377520489412</c:v>
                </c:pt>
                <c:pt idx="54">
                  <c:v>78.647385144014194</c:v>
                </c:pt>
                <c:pt idx="55">
                  <c:v>80.329608290498157</c:v>
                </c:pt>
                <c:pt idx="56">
                  <c:v>82.030623637137623</c:v>
                </c:pt>
                <c:pt idx="57">
                  <c:v>83.750907055720774</c:v>
                </c:pt>
                <c:pt idx="58">
                  <c:v>85.490676803300488</c:v>
                </c:pt>
                <c:pt idx="59">
                  <c:v>87.25015360921337</c:v>
                </c:pt>
                <c:pt idx="60">
                  <c:v>89.029560703084314</c:v>
                </c:pt>
                <c:pt idx="61">
                  <c:v>90.829123843148238</c:v>
                </c:pt>
                <c:pt idx="62">
                  <c:v>92.649071344892647</c:v>
                </c:pt>
                <c:pt idx="63">
                  <c:v>94.489634110024681</c:v>
                </c:pt>
                <c:pt idx="64">
                  <c:v>96.351045655766185</c:v>
                </c:pt>
                <c:pt idx="65">
                  <c:v>98.233542144480751</c:v>
                </c:pt>
                <c:pt idx="66">
                  <c:v>100.1373624136362</c:v>
                </c:pt>
                <c:pt idx="67">
                  <c:v>102.06274800610656</c:v>
                </c:pt>
                <c:pt idx="68">
                  <c:v>104.00994320081735</c:v>
                </c:pt>
                <c:pt idx="69">
                  <c:v>105.97919504373782</c:v>
                </c:pt>
                <c:pt idx="70">
                  <c:v>107.97075337922439</c:v>
                </c:pt>
                <c:pt idx="71">
                  <c:v>109.98487088171908</c:v>
                </c:pt>
                <c:pt idx="72">
                  <c:v>112.02180308780702</c:v>
                </c:pt>
                <c:pt idx="73">
                  <c:v>114.081808428637</c:v>
                </c:pt>
                <c:pt idx="74">
                  <c:v>116.16514826270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89.225863321655581</c:v>
                </c:pt>
                <c:pt idx="50">
                  <c:v>92.981455419947835</c:v>
                </c:pt>
                <c:pt idx="51">
                  <c:v>96.869775727751033</c:v>
                </c:pt>
                <c:pt idx="52">
                  <c:v>100.89453221213762</c:v>
                </c:pt>
                <c:pt idx="53">
                  <c:v>105.0595114139964</c:v>
                </c:pt>
                <c:pt idx="54">
                  <c:v>109.36855820761751</c:v>
                </c:pt>
                <c:pt idx="55">
                  <c:v>113.82553456208427</c:v>
                </c:pt>
                <c:pt idx="56">
                  <c:v>118.43431612664114</c:v>
                </c:pt>
                <c:pt idx="57">
                  <c:v>123.19879443296962</c:v>
                </c:pt>
                <c:pt idx="58">
                  <c:v>128.12422932579412</c:v>
                </c:pt>
                <c:pt idx="59">
                  <c:v>133.21605834120373</c:v>
                </c:pt>
                <c:pt idx="60">
                  <c:v>138.47990270953312</c:v>
                </c:pt>
                <c:pt idx="61">
                  <c:v>143.92157356103635</c:v>
                </c:pt>
                <c:pt idx="62">
                  <c:v>149.54707834120489</c:v>
                </c:pt>
                <c:pt idx="63">
                  <c:v>155.36262744281154</c:v>
                </c:pt>
                <c:pt idx="64">
                  <c:v>161.37464106200269</c:v>
                </c:pt>
                <c:pt idx="65">
                  <c:v>167.58975628600695</c:v>
                </c:pt>
                <c:pt idx="66">
                  <c:v>174.01483442028544</c:v>
                </c:pt>
                <c:pt idx="67">
                  <c:v>180.65696856321233</c:v>
                </c:pt>
                <c:pt idx="68">
                  <c:v>187.52349143664807</c:v>
                </c:pt>
                <c:pt idx="69">
                  <c:v>194.62198348104991</c:v>
                </c:pt>
                <c:pt idx="70">
                  <c:v>201.96028122405644</c:v>
                </c:pt>
                <c:pt idx="71">
                  <c:v>209.54648593178499</c:v>
                </c:pt>
                <c:pt idx="72">
                  <c:v>217.3889725523924</c:v>
                </c:pt>
                <c:pt idx="73">
                  <c:v>225.49639896177314</c:v>
                </c:pt>
                <c:pt idx="74">
                  <c:v>233.87771552160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5.80641437594696</c:v>
                </c:pt>
                <c:pt idx="50">
                  <c:v>157.12378924175925</c:v>
                </c:pt>
                <c:pt idx="51">
                  <c:v>169.26102009918873</c:v>
                </c:pt>
                <c:pt idx="52">
                  <c:v>182.58186415890719</c:v>
                </c:pt>
                <c:pt idx="53">
                  <c:v>197.38363731042205</c:v>
                </c:pt>
                <c:pt idx="54">
                  <c:v>213.67719780501187</c:v>
                </c:pt>
                <c:pt idx="55">
                  <c:v>231.2189369789271</c:v>
                </c:pt>
                <c:pt idx="56">
                  <c:v>250.12828948613128</c:v>
                </c:pt>
                <c:pt idx="57">
                  <c:v>271.19771472870627</c:v>
                </c:pt>
                <c:pt idx="58">
                  <c:v>294.09680635325037</c:v>
                </c:pt>
                <c:pt idx="59">
                  <c:v>319.03124923311037</c:v>
                </c:pt>
                <c:pt idx="60">
                  <c:v>346.05383671681363</c:v>
                </c:pt>
                <c:pt idx="61">
                  <c:v>374.92409449457193</c:v>
                </c:pt>
                <c:pt idx="62">
                  <c:v>405.08134528077278</c:v>
                </c:pt>
                <c:pt idx="63">
                  <c:v>435.50836409397897</c:v>
                </c:pt>
                <c:pt idx="64">
                  <c:v>465.98770447996958</c:v>
                </c:pt>
                <c:pt idx="65">
                  <c:v>496.7864805686765</c:v>
                </c:pt>
                <c:pt idx="66">
                  <c:v>527.22618391382423</c:v>
                </c:pt>
                <c:pt idx="67">
                  <c:v>556.97648682690829</c:v>
                </c:pt>
                <c:pt idx="68">
                  <c:v>586.09990780799615</c:v>
                </c:pt>
                <c:pt idx="69">
                  <c:v>614.4863840047766</c:v>
                </c:pt>
                <c:pt idx="70">
                  <c:v>642.00170520592428</c:v>
                </c:pt>
                <c:pt idx="71">
                  <c:v>668.71531322198211</c:v>
                </c:pt>
                <c:pt idx="72">
                  <c:v>694.55168139052796</c:v>
                </c:pt>
                <c:pt idx="73">
                  <c:v>719.3223044583126</c:v>
                </c:pt>
                <c:pt idx="74">
                  <c:v>743.153939007388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5</c:v>
                </c:pt>
                <c:pt idx="1">
                  <c:v>25</c:v>
                </c:pt>
                <c:pt idx="2">
                  <c:v>39</c:v>
                </c:pt>
                <c:pt idx="3">
                  <c:v>46</c:v>
                </c:pt>
                <c:pt idx="4">
                  <c:v>56</c:v>
                </c:pt>
                <c:pt idx="5">
                  <c:v>73</c:v>
                </c:pt>
                <c:pt idx="6">
                  <c:v>86</c:v>
                </c:pt>
                <c:pt idx="7">
                  <c:v>102</c:v>
                </c:pt>
                <c:pt idx="8">
                  <c:v>118</c:v>
                </c:pt>
                <c:pt idx="9">
                  <c:v>131</c:v>
                </c:pt>
                <c:pt idx="10">
                  <c:v>143</c:v>
                </c:pt>
                <c:pt idx="11">
                  <c:v>160</c:v>
                </c:pt>
                <c:pt idx="12">
                  <c:v>189</c:v>
                </c:pt>
                <c:pt idx="13">
                  <c:v>214</c:v>
                </c:pt>
                <c:pt idx="14">
                  <c:v>231</c:v>
                </c:pt>
                <c:pt idx="15">
                  <c:v>250</c:v>
                </c:pt>
                <c:pt idx="16">
                  <c:v>281</c:v>
                </c:pt>
                <c:pt idx="17">
                  <c:v>291</c:v>
                </c:pt>
                <c:pt idx="18">
                  <c:v>305</c:v>
                </c:pt>
                <c:pt idx="19">
                  <c:v>328</c:v>
                </c:pt>
                <c:pt idx="20">
                  <c:v>347</c:v>
                </c:pt>
                <c:pt idx="21">
                  <c:v>364</c:v>
                </c:pt>
                <c:pt idx="22">
                  <c:v>385</c:v>
                </c:pt>
                <c:pt idx="23">
                  <c:v>412</c:v>
                </c:pt>
                <c:pt idx="24">
                  <c:v>432</c:v>
                </c:pt>
                <c:pt idx="25">
                  <c:v>448</c:v>
                </c:pt>
                <c:pt idx="26">
                  <c:v>482</c:v>
                </c:pt>
                <c:pt idx="27">
                  <c:v>498</c:v>
                </c:pt>
                <c:pt idx="28">
                  <c:v>534</c:v>
                </c:pt>
                <c:pt idx="29">
                  <c:v>565</c:v>
                </c:pt>
                <c:pt idx="30">
                  <c:v>595</c:v>
                </c:pt>
                <c:pt idx="31">
                  <c:v>622</c:v>
                </c:pt>
                <c:pt idx="32">
                  <c:v>647</c:v>
                </c:pt>
                <c:pt idx="33">
                  <c:v>700</c:v>
                </c:pt>
                <c:pt idx="34">
                  <c:v>740</c:v>
                </c:pt>
                <c:pt idx="35">
                  <c:v>793</c:v>
                </c:pt>
                <c:pt idx="36">
                  <c:v>832</c:v>
                </c:pt>
                <c:pt idx="37">
                  <c:v>883</c:v>
                </c:pt>
                <c:pt idx="38">
                  <c:v>913</c:v>
                </c:pt>
                <c:pt idx="39">
                  <c:v>947</c:v>
                </c:pt>
                <c:pt idx="40">
                  <c:v>1027</c:v>
                </c:pt>
                <c:pt idx="41">
                  <c:v>1089</c:v>
                </c:pt>
                <c:pt idx="42">
                  <c:v>1152</c:v>
                </c:pt>
                <c:pt idx="43">
                  <c:v>1209</c:v>
                </c:pt>
                <c:pt idx="44">
                  <c:v>1292</c:v>
                </c:pt>
                <c:pt idx="45">
                  <c:v>1362</c:v>
                </c:pt>
                <c:pt idx="46">
                  <c:v>1412</c:v>
                </c:pt>
                <c:pt idx="47">
                  <c:v>1545</c:v>
                </c:pt>
                <c:pt idx="48">
                  <c:v>1687</c:v>
                </c:pt>
                <c:pt idx="49">
                  <c:v>1804</c:v>
                </c:pt>
                <c:pt idx="50">
                  <c:v>1926</c:v>
                </c:pt>
                <c:pt idx="51">
                  <c:v>2085</c:v>
                </c:pt>
                <c:pt idx="52">
                  <c:v>2197</c:v>
                </c:pt>
                <c:pt idx="53">
                  <c:v>2306</c:v>
                </c:pt>
                <c:pt idx="54">
                  <c:v>2521</c:v>
                </c:pt>
                <c:pt idx="55">
                  <c:v>2782</c:v>
                </c:pt>
                <c:pt idx="56">
                  <c:v>3021</c:v>
                </c:pt>
                <c:pt idx="57">
                  <c:v>3190</c:v>
                </c:pt>
                <c:pt idx="58">
                  <c:v>3458</c:v>
                </c:pt>
                <c:pt idx="59">
                  <c:v>3647</c:v>
                </c:pt>
                <c:pt idx="60">
                  <c:v>3850</c:v>
                </c:pt>
                <c:pt idx="61">
                  <c:v>4260</c:v>
                </c:pt>
                <c:pt idx="62">
                  <c:v>4641</c:v>
                </c:pt>
                <c:pt idx="63">
                  <c:v>5015</c:v>
                </c:pt>
                <c:pt idx="64">
                  <c:v>5393</c:v>
                </c:pt>
                <c:pt idx="65">
                  <c:v>5693</c:v>
                </c:pt>
                <c:pt idx="66">
                  <c:v>5898</c:v>
                </c:pt>
                <c:pt idx="67">
                  <c:v>5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711.5540409492387</c:v>
                </c:pt>
                <c:pt idx="50">
                  <c:v>1746.1404914876039</c:v>
                </c:pt>
                <c:pt idx="51">
                  <c:v>1780.7483010539727</c:v>
                </c:pt>
                <c:pt idx="52">
                  <c:v>1815.3723698710091</c:v>
                </c:pt>
                <c:pt idx="53">
                  <c:v>1850.0078564963187</c:v>
                </c:pt>
                <c:pt idx="54">
                  <c:v>1884.6507277053606</c:v>
                </c:pt>
                <c:pt idx="55">
                  <c:v>1919.3000614179182</c:v>
                </c:pt>
                <c:pt idx="56">
                  <c:v>1953.9543450300989</c:v>
                </c:pt>
                <c:pt idx="57">
                  <c:v>1988.6131887935626</c:v>
                </c:pt>
                <c:pt idx="58">
                  <c:v>2023.2764819430595</c:v>
                </c:pt>
                <c:pt idx="59">
                  <c:v>2057.9431674722</c:v>
                </c:pt>
                <c:pt idx="60">
                  <c:v>2092.6127604068606</c:v>
                </c:pt>
                <c:pt idx="61">
                  <c:v>2127.2850673851499</c:v>
                </c:pt>
                <c:pt idx="62">
                  <c:v>2161.9588926280558</c:v>
                </c:pt>
                <c:pt idx="63">
                  <c:v>2196.6342923267512</c:v>
                </c:pt>
                <c:pt idx="64">
                  <c:v>2231.3108950904862</c:v>
                </c:pt>
                <c:pt idx="65">
                  <c:v>2265.9885324682109</c:v>
                </c:pt>
                <c:pt idx="66">
                  <c:v>2300.6661698459066</c:v>
                </c:pt>
                <c:pt idx="67">
                  <c:v>2335.3438072236313</c:v>
                </c:pt>
                <c:pt idx="68">
                  <c:v>2370.0214446013269</c:v>
                </c:pt>
                <c:pt idx="69">
                  <c:v>2404.6990819790517</c:v>
                </c:pt>
                <c:pt idx="70">
                  <c:v>2439.3767193567473</c:v>
                </c:pt>
                <c:pt idx="71">
                  <c:v>2474.0543567344721</c:v>
                </c:pt>
                <c:pt idx="72">
                  <c:v>2508.7319941121677</c:v>
                </c:pt>
                <c:pt idx="73">
                  <c:v>2543.4096314898925</c:v>
                </c:pt>
                <c:pt idx="74">
                  <c:v>2578.08726886758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717.6388596533216</c:v>
                </c:pt>
                <c:pt idx="50">
                  <c:v>1759.0862255988177</c:v>
                </c:pt>
                <c:pt idx="51">
                  <c:v>1801.351429415372</c:v>
                </c:pt>
                <c:pt idx="52">
                  <c:v>1844.4441880832601</c:v>
                </c:pt>
                <c:pt idx="53">
                  <c:v>1888.3760126475245</c:v>
                </c:pt>
                <c:pt idx="54">
                  <c:v>1933.1590471862</c:v>
                </c:pt>
                <c:pt idx="55">
                  <c:v>1978.8059200301068</c:v>
                </c:pt>
                <c:pt idx="56">
                  <c:v>2025.329303123377</c:v>
                </c:pt>
                <c:pt idx="57">
                  <c:v>2072.7411878641287</c:v>
                </c:pt>
                <c:pt idx="58">
                  <c:v>2121.0537324229081</c:v>
                </c:pt>
                <c:pt idx="59">
                  <c:v>2170.2791244962136</c:v>
                </c:pt>
                <c:pt idx="60">
                  <c:v>2220.4289420156274</c:v>
                </c:pt>
                <c:pt idx="61">
                  <c:v>2271.5149801315274</c:v>
                </c:pt>
                <c:pt idx="62">
                  <c:v>2323.5489719461184</c:v>
                </c:pt>
                <c:pt idx="63">
                  <c:v>2376.5424958209333</c:v>
                </c:pt>
                <c:pt idx="64">
                  <c:v>2430.5065129081195</c:v>
                </c:pt>
                <c:pt idx="65">
                  <c:v>2485.4519908832444</c:v>
                </c:pt>
                <c:pt idx="66">
                  <c:v>2541.3897839065467</c:v>
                </c:pt>
                <c:pt idx="67">
                  <c:v>2598.3305713078007</c:v>
                </c:pt>
                <c:pt idx="68">
                  <c:v>2656.284823459544</c:v>
                </c:pt>
                <c:pt idx="69">
                  <c:v>2715.263660785713</c:v>
                </c:pt>
                <c:pt idx="70">
                  <c:v>2775.2786409968685</c:v>
                </c:pt>
                <c:pt idx="71">
                  <c:v>2836.3415974478121</c:v>
                </c:pt>
                <c:pt idx="72">
                  <c:v>2898.4645639232767</c:v>
                </c:pt>
                <c:pt idx="73">
                  <c:v>2961.659740538511</c:v>
                </c:pt>
                <c:pt idx="74">
                  <c:v>3025.9394930893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725.9419065905386</c:v>
                </c:pt>
                <c:pt idx="50">
                  <c:v>1776.7953214889276</c:v>
                </c:pt>
                <c:pt idx="51">
                  <c:v>1829.6275384610635</c:v>
                </c:pt>
                <c:pt idx="52">
                  <c:v>1884.507608255517</c:v>
                </c:pt>
                <c:pt idx="53">
                  <c:v>1941.5073756648926</c:v>
                </c:pt>
                <c:pt idx="54">
                  <c:v>2000.7014698942075</c:v>
                </c:pt>
                <c:pt idx="55">
                  <c:v>2062.1663546504569</c:v>
                </c:pt>
                <c:pt idx="56">
                  <c:v>2125.9803258870088</c:v>
                </c:pt>
                <c:pt idx="57">
                  <c:v>2192.2236091099039</c:v>
                </c:pt>
                <c:pt idx="58">
                  <c:v>2260.9785008520412</c:v>
                </c:pt>
                <c:pt idx="59">
                  <c:v>2332.3294438737794</c:v>
                </c:pt>
                <c:pt idx="60">
                  <c:v>2406.3631372908421</c:v>
                </c:pt>
                <c:pt idx="61">
                  <c:v>2483.1684891906916</c:v>
                </c:pt>
                <c:pt idx="62">
                  <c:v>2562.8364281827817</c:v>
                </c:pt>
                <c:pt idx="63">
                  <c:v>2645.4598805263813</c:v>
                </c:pt>
                <c:pt idx="64">
                  <c:v>2731.1337687867344</c:v>
                </c:pt>
                <c:pt idx="65">
                  <c:v>2819.9550228552835</c:v>
                </c:pt>
                <c:pt idx="66">
                  <c:v>2912.022552291688</c:v>
                </c:pt>
                <c:pt idx="67">
                  <c:v>3007.4372111584817</c:v>
                </c:pt>
                <c:pt idx="68">
                  <c:v>3106.3017543307215</c:v>
                </c:pt>
                <c:pt idx="69">
                  <c:v>3208.7225218543317</c:v>
                </c:pt>
                <c:pt idx="70">
                  <c:v>3314.8090534004732</c:v>
                </c:pt>
                <c:pt idx="71">
                  <c:v>3424.6738050146087</c:v>
                </c:pt>
                <c:pt idx="72">
                  <c:v>3538.4320224222902</c:v>
                </c:pt>
                <c:pt idx="73">
                  <c:v>3656.2016845159524</c:v>
                </c:pt>
                <c:pt idx="74">
                  <c:v>3778.103499852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790.3384314579962</c:v>
                </c:pt>
                <c:pt idx="50">
                  <c:v>1911.7242893315779</c:v>
                </c:pt>
                <c:pt idx="51">
                  <c:v>2044.0182616768143</c:v>
                </c:pt>
                <c:pt idx="52">
                  <c:v>2188.2181347568767</c:v>
                </c:pt>
                <c:pt idx="53">
                  <c:v>2345.7659813031642</c:v>
                </c:pt>
                <c:pt idx="54">
                  <c:v>2518.0251071139865</c:v>
                </c:pt>
                <c:pt idx="55">
                  <c:v>2706.1896641684725</c:v>
                </c:pt>
                <c:pt idx="56">
                  <c:v>2910.7342601753553</c:v>
                </c:pt>
                <c:pt idx="57">
                  <c:v>3132.773859412664</c:v>
                </c:pt>
                <c:pt idx="58">
                  <c:v>3374.2840472807438</c:v>
                </c:pt>
                <c:pt idx="59">
                  <c:v>3636.2671670060663</c:v>
                </c:pt>
                <c:pt idx="60">
                  <c:v>3920.1514646400974</c:v>
                </c:pt>
                <c:pt idx="61">
                  <c:v>4227.9044128699024</c:v>
                </c:pt>
                <c:pt idx="62">
                  <c:v>4555.2900101247214</c:v>
                </c:pt>
                <c:pt idx="63">
                  <c:v>4899.5157749633872</c:v>
                </c:pt>
                <c:pt idx="64">
                  <c:v>5258.7437447138509</c:v>
                </c:pt>
                <c:pt idx="65">
                  <c:v>5631.86211176707</c:v>
                </c:pt>
                <c:pt idx="66">
                  <c:v>6018.4752201075971</c:v>
                </c:pt>
                <c:pt idx="67">
                  <c:v>6417.6517696594165</c:v>
                </c:pt>
                <c:pt idx="68">
                  <c:v>6828.6572296395316</c:v>
                </c:pt>
                <c:pt idx="69">
                  <c:v>7251.1399593115493</c:v>
                </c:pt>
                <c:pt idx="70">
                  <c:v>7684.397275353469</c:v>
                </c:pt>
                <c:pt idx="71">
                  <c:v>8127.7541977672363</c:v>
                </c:pt>
                <c:pt idx="72">
                  <c:v>8580.8411070448856</c:v>
                </c:pt>
                <c:pt idx="73">
                  <c:v>9043.334001877578</c:v>
                </c:pt>
                <c:pt idx="74">
                  <c:v>9514.827314922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9</c:v>
                </c:pt>
                <c:pt idx="5">
                  <c:v>13</c:v>
                </c:pt>
                <c:pt idx="6">
                  <c:v>14</c:v>
                </c:pt>
                <c:pt idx="7">
                  <c:v>19</c:v>
                </c:pt>
                <c:pt idx="8">
                  <c:v>24</c:v>
                </c:pt>
                <c:pt idx="9">
                  <c:v>26</c:v>
                </c:pt>
                <c:pt idx="10">
                  <c:v>29</c:v>
                </c:pt>
                <c:pt idx="11">
                  <c:v>33</c:v>
                </c:pt>
                <c:pt idx="12">
                  <c:v>36</c:v>
                </c:pt>
                <c:pt idx="13">
                  <c:v>42</c:v>
                </c:pt>
                <c:pt idx="14">
                  <c:v>42</c:v>
                </c:pt>
                <c:pt idx="15">
                  <c:v>47</c:v>
                </c:pt>
                <c:pt idx="16">
                  <c:v>50</c:v>
                </c:pt>
                <c:pt idx="17">
                  <c:v>51</c:v>
                </c:pt>
                <c:pt idx="18">
                  <c:v>54</c:v>
                </c:pt>
                <c:pt idx="19">
                  <c:v>57</c:v>
                </c:pt>
                <c:pt idx="20">
                  <c:v>59</c:v>
                </c:pt>
                <c:pt idx="21">
                  <c:v>61</c:v>
                </c:pt>
                <c:pt idx="22">
                  <c:v>62</c:v>
                </c:pt>
                <c:pt idx="23">
                  <c:v>72</c:v>
                </c:pt>
                <c:pt idx="24">
                  <c:v>75</c:v>
                </c:pt>
                <c:pt idx="25">
                  <c:v>78</c:v>
                </c:pt>
                <c:pt idx="26">
                  <c:v>83</c:v>
                </c:pt>
                <c:pt idx="27">
                  <c:v>85</c:v>
                </c:pt>
                <c:pt idx="28">
                  <c:v>95</c:v>
                </c:pt>
                <c:pt idx="29">
                  <c:v>102</c:v>
                </c:pt>
                <c:pt idx="30">
                  <c:v>108</c:v>
                </c:pt>
                <c:pt idx="31">
                  <c:v>115</c:v>
                </c:pt>
                <c:pt idx="32">
                  <c:v>120</c:v>
                </c:pt>
                <c:pt idx="33">
                  <c:v>131</c:v>
                </c:pt>
                <c:pt idx="34">
                  <c:v>140</c:v>
                </c:pt>
                <c:pt idx="35">
                  <c:v>150</c:v>
                </c:pt>
                <c:pt idx="36">
                  <c:v>154</c:v>
                </c:pt>
                <c:pt idx="37">
                  <c:v>158</c:v>
                </c:pt>
                <c:pt idx="38">
                  <c:v>161</c:v>
                </c:pt>
                <c:pt idx="39">
                  <c:v>170</c:v>
                </c:pt>
                <c:pt idx="40">
                  <c:v>178</c:v>
                </c:pt>
                <c:pt idx="41">
                  <c:v>187</c:v>
                </c:pt>
                <c:pt idx="42">
                  <c:v>194</c:v>
                </c:pt>
                <c:pt idx="43">
                  <c:v>205</c:v>
                </c:pt>
                <c:pt idx="44">
                  <c:v>209</c:v>
                </c:pt>
                <c:pt idx="45">
                  <c:v>215</c:v>
                </c:pt>
                <c:pt idx="46">
                  <c:v>218</c:v>
                </c:pt>
                <c:pt idx="47">
                  <c:v>238</c:v>
                </c:pt>
                <c:pt idx="48">
                  <c:v>251</c:v>
                </c:pt>
                <c:pt idx="49">
                  <c:v>260</c:v>
                </c:pt>
                <c:pt idx="50">
                  <c:v>270</c:v>
                </c:pt>
                <c:pt idx="51">
                  <c:v>287</c:v>
                </c:pt>
                <c:pt idx="52">
                  <c:v>303</c:v>
                </c:pt>
                <c:pt idx="53">
                  <c:v>318</c:v>
                </c:pt>
                <c:pt idx="54">
                  <c:v>328</c:v>
                </c:pt>
                <c:pt idx="55">
                  <c:v>352</c:v>
                </c:pt>
                <c:pt idx="56">
                  <c:v>379</c:v>
                </c:pt>
                <c:pt idx="57">
                  <c:v>401</c:v>
                </c:pt>
                <c:pt idx="58">
                  <c:v>429</c:v>
                </c:pt>
                <c:pt idx="59">
                  <c:v>446</c:v>
                </c:pt>
                <c:pt idx="60">
                  <c:v>468</c:v>
                </c:pt>
                <c:pt idx="61">
                  <c:v>499</c:v>
                </c:pt>
                <c:pt idx="62">
                  <c:v>554</c:v>
                </c:pt>
                <c:pt idx="63">
                  <c:v>609</c:v>
                </c:pt>
                <c:pt idx="64">
                  <c:v>644</c:v>
                </c:pt>
                <c:pt idx="65">
                  <c:v>681</c:v>
                </c:pt>
                <c:pt idx="66">
                  <c:v>710</c:v>
                </c:pt>
                <c:pt idx="67">
                  <c:v>7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51.93239662695629</c:v>
                </c:pt>
                <c:pt idx="50">
                  <c:v>255.86848160281363</c:v>
                </c:pt>
                <c:pt idx="51">
                  <c:v>259.80699732677942</c:v>
                </c:pt>
                <c:pt idx="52">
                  <c:v>263.74736342253175</c:v>
                </c:pt>
                <c:pt idx="53">
                  <c:v>267.68902891336222</c:v>
                </c:pt>
                <c:pt idx="54">
                  <c:v>271.63153480118717</c:v>
                </c:pt>
                <c:pt idx="55">
                  <c:v>275.57477614936141</c:v>
                </c:pt>
                <c:pt idx="56">
                  <c:v>279.51858081713726</c:v>
                </c:pt>
                <c:pt idx="57">
                  <c:v>283.46290444949818</c:v>
                </c:pt>
                <c:pt idx="58">
                  <c:v>287.40773444088831</c:v>
                </c:pt>
                <c:pt idx="59">
                  <c:v>291.35295049949087</c:v>
                </c:pt>
                <c:pt idx="60">
                  <c:v>295.29849743319073</c:v>
                </c:pt>
                <c:pt idx="61">
                  <c:v>299.24435323658332</c:v>
                </c:pt>
                <c:pt idx="62">
                  <c:v>303.19038182493802</c:v>
                </c:pt>
                <c:pt idx="63">
                  <c:v>307.136589593049</c:v>
                </c:pt>
                <c:pt idx="64">
                  <c:v>311.08293427507147</c:v>
                </c:pt>
                <c:pt idx="65">
                  <c:v>315.02939670056048</c:v>
                </c:pt>
                <c:pt idx="66">
                  <c:v>318.97585912604615</c:v>
                </c:pt>
                <c:pt idx="67">
                  <c:v>322.92232155153516</c:v>
                </c:pt>
                <c:pt idx="68">
                  <c:v>326.86878397702083</c:v>
                </c:pt>
                <c:pt idx="69">
                  <c:v>330.81524640250984</c:v>
                </c:pt>
                <c:pt idx="70">
                  <c:v>334.76170882799551</c:v>
                </c:pt>
                <c:pt idx="71">
                  <c:v>338.70817125348452</c:v>
                </c:pt>
                <c:pt idx="72">
                  <c:v>342.65463367897019</c:v>
                </c:pt>
                <c:pt idx="73">
                  <c:v>346.6010961044592</c:v>
                </c:pt>
                <c:pt idx="74">
                  <c:v>350.54755852994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52.62487484050959</c:v>
                </c:pt>
                <c:pt idx="50">
                  <c:v>257.3417611311674</c:v>
                </c:pt>
                <c:pt idx="51">
                  <c:v>262.15172084528587</c:v>
                </c:pt>
                <c:pt idx="52">
                  <c:v>267.0558598164929</c:v>
                </c:pt>
                <c:pt idx="53">
                  <c:v>272.05548805060704</c:v>
                </c:pt>
                <c:pt idx="54">
                  <c:v>277.15198759529011</c:v>
                </c:pt>
                <c:pt idx="55">
                  <c:v>282.34679560822781</c:v>
                </c:pt>
                <c:pt idx="56">
                  <c:v>287.64135421048593</c:v>
                </c:pt>
                <c:pt idx="57">
                  <c:v>293.03702807410332</c:v>
                </c:pt>
                <c:pt idx="58">
                  <c:v>298.53520085052952</c:v>
                </c:pt>
                <c:pt idx="59">
                  <c:v>304.13725955139279</c:v>
                </c:pt>
                <c:pt idx="60">
                  <c:v>309.84452179448397</c:v>
                </c:pt>
                <c:pt idx="61">
                  <c:v>315.65832991801551</c:v>
                </c:pt>
                <c:pt idx="62">
                  <c:v>321.58001919885425</c:v>
                </c:pt>
                <c:pt idx="63">
                  <c:v>327.61090730372121</c:v>
                </c:pt>
                <c:pt idx="64">
                  <c:v>333.75224165828786</c:v>
                </c:pt>
                <c:pt idx="65">
                  <c:v>340.00527043061857</c:v>
                </c:pt>
                <c:pt idx="66">
                  <c:v>346.37122887025106</c:v>
                </c:pt>
                <c:pt idx="67">
                  <c:v>352.85133233027375</c:v>
                </c:pt>
                <c:pt idx="68">
                  <c:v>359.44677238355388</c:v>
                </c:pt>
                <c:pt idx="69">
                  <c:v>366.15881458156895</c:v>
                </c:pt>
                <c:pt idx="70">
                  <c:v>372.98877424087175</c:v>
                </c:pt>
                <c:pt idx="71">
                  <c:v>379.93799804750034</c:v>
                </c:pt>
                <c:pt idx="72">
                  <c:v>387.00785549727044</c:v>
                </c:pt>
                <c:pt idx="73">
                  <c:v>394.1997350151168</c:v>
                </c:pt>
                <c:pt idx="74">
                  <c:v>401.5150438811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53.56979684883092</c:v>
                </c:pt>
                <c:pt idx="50">
                  <c:v>259.35713146215176</c:v>
                </c:pt>
                <c:pt idx="51">
                  <c:v>265.36966215634914</c:v>
                </c:pt>
                <c:pt idx="52">
                  <c:v>271.61524719990075</c:v>
                </c:pt>
                <c:pt idx="53">
                  <c:v>278.10206283536291</c:v>
                </c:pt>
                <c:pt idx="54">
                  <c:v>284.83860218325123</c:v>
                </c:pt>
                <c:pt idx="55">
                  <c:v>291.83356713819836</c:v>
                </c:pt>
                <c:pt idx="56">
                  <c:v>299.09586811225654</c:v>
                </c:pt>
                <c:pt idx="57">
                  <c:v>306.6346351087679</c:v>
                </c:pt>
                <c:pt idx="58">
                  <c:v>314.45923382272764</c:v>
                </c:pt>
                <c:pt idx="59">
                  <c:v>322.5792741989319</c:v>
                </c:pt>
                <c:pt idx="60">
                  <c:v>331.00462296500115</c:v>
                </c:pt>
                <c:pt idx="61">
                  <c:v>339.74539823892218</c:v>
                </c:pt>
                <c:pt idx="62">
                  <c:v>348.8119480826665</c:v>
                </c:pt>
                <c:pt idx="63">
                  <c:v>358.2148478992396</c:v>
                </c:pt>
                <c:pt idx="64">
                  <c:v>367.96490027974608</c:v>
                </c:pt>
                <c:pt idx="65">
                  <c:v>378.07313625753801</c:v>
                </c:pt>
                <c:pt idx="66">
                  <c:v>388.55081216061916</c:v>
                </c:pt>
                <c:pt idx="67">
                  <c:v>399.40940560967948</c:v>
                </c:pt>
                <c:pt idx="68">
                  <c:v>410.66061054594775</c:v>
                </c:pt>
                <c:pt idx="69">
                  <c:v>422.31652891832539</c:v>
                </c:pt>
                <c:pt idx="70">
                  <c:v>434.38962680665588</c:v>
                </c:pt>
                <c:pt idx="71">
                  <c:v>446.89270218656554</c:v>
                </c:pt>
                <c:pt idx="72">
                  <c:v>459.83887051112396</c:v>
                </c:pt>
                <c:pt idx="73">
                  <c:v>473.24155827940086</c:v>
                </c:pt>
                <c:pt idx="74">
                  <c:v>487.11450263793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61.15317078224103</c:v>
                </c:pt>
                <c:pt idx="50">
                  <c:v>275.26712517195523</c:v>
                </c:pt>
                <c:pt idx="51">
                  <c:v>290.6459435084513</c:v>
                </c:pt>
                <c:pt idx="52">
                  <c:v>307.417863565912</c:v>
                </c:pt>
                <c:pt idx="53">
                  <c:v>325.75455910356561</c:v>
                </c:pt>
                <c:pt idx="54">
                  <c:v>345.81093789005575</c:v>
                </c:pt>
                <c:pt idx="55">
                  <c:v>367.72469821153237</c:v>
                </c:pt>
                <c:pt idx="56">
                  <c:v>391.55748499479603</c:v>
                </c:pt>
                <c:pt idx="57">
                  <c:v>417.43755073334563</c:v>
                </c:pt>
                <c:pt idx="58">
                  <c:v>445.58455800907734</c:v>
                </c:pt>
                <c:pt idx="59">
                  <c:v>476.11522360943979</c:v>
                </c:pt>
                <c:pt idx="60">
                  <c:v>509.20022818469704</c:v>
                </c:pt>
                <c:pt idx="61">
                  <c:v>545.06549282092544</c:v>
                </c:pt>
                <c:pt idx="62">
                  <c:v>583.2200644759514</c:v>
                </c:pt>
                <c:pt idx="63">
                  <c:v>623.34193617652772</c:v>
                </c:pt>
                <c:pt idx="64">
                  <c:v>665.21503245970018</c:v>
                </c:pt>
                <c:pt idx="65">
                  <c:v>708.7082998721288</c:v>
                </c:pt>
                <c:pt idx="66">
                  <c:v>753.77419213238261</c:v>
                </c:pt>
                <c:pt idx="67">
                  <c:v>800.30493731799447</c:v>
                </c:pt>
                <c:pt idx="68">
                  <c:v>848.21395448261455</c:v>
                </c:pt>
                <c:pt idx="69">
                  <c:v>897.45553936019871</c:v>
                </c:pt>
                <c:pt idx="70">
                  <c:v>947.94708021570875</c:v>
                </c:pt>
                <c:pt idx="71">
                  <c:v>999.60869488851756</c:v>
                </c:pt>
                <c:pt idx="72">
                  <c:v>1052.3950176926514</c:v>
                </c:pt>
                <c:pt idx="73">
                  <c:v>1106.2689801337833</c:v>
                </c:pt>
                <c:pt idx="74">
                  <c:v>1161.182352983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5</c:v>
                </c:pt>
                <c:pt idx="9">
                  <c:v>7</c:v>
                </c:pt>
                <c:pt idx="10">
                  <c:v>8</c:v>
                </c:pt>
                <c:pt idx="11">
                  <c:v>8</c:v>
                </c:pt>
                <c:pt idx="12">
                  <c:v>10</c:v>
                </c:pt>
                <c:pt idx="13">
                  <c:v>13</c:v>
                </c:pt>
                <c:pt idx="14">
                  <c:v>14</c:v>
                </c:pt>
                <c:pt idx="15">
                  <c:v>16</c:v>
                </c:pt>
                <c:pt idx="16">
                  <c:v>19</c:v>
                </c:pt>
                <c:pt idx="17">
                  <c:v>20</c:v>
                </c:pt>
                <c:pt idx="18">
                  <c:v>20</c:v>
                </c:pt>
                <c:pt idx="19">
                  <c:v>22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7</c:v>
                </c:pt>
                <c:pt idx="25">
                  <c:v>28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3</c:v>
                </c:pt>
                <c:pt idx="30">
                  <c:v>35</c:v>
                </c:pt>
                <c:pt idx="31">
                  <c:v>35</c:v>
                </c:pt>
                <c:pt idx="32">
                  <c:v>37</c:v>
                </c:pt>
                <c:pt idx="33">
                  <c:v>43</c:v>
                </c:pt>
                <c:pt idx="34">
                  <c:v>48</c:v>
                </c:pt>
                <c:pt idx="35">
                  <c:v>51</c:v>
                </c:pt>
                <c:pt idx="36">
                  <c:v>51</c:v>
                </c:pt>
                <c:pt idx="37">
                  <c:v>59</c:v>
                </c:pt>
                <c:pt idx="38">
                  <c:v>60</c:v>
                </c:pt>
                <c:pt idx="39">
                  <c:v>62</c:v>
                </c:pt>
                <c:pt idx="40">
                  <c:v>68</c:v>
                </c:pt>
                <c:pt idx="41">
                  <c:v>70</c:v>
                </c:pt>
                <c:pt idx="42">
                  <c:v>72</c:v>
                </c:pt>
                <c:pt idx="43">
                  <c:v>75</c:v>
                </c:pt>
                <c:pt idx="44">
                  <c:v>80</c:v>
                </c:pt>
                <c:pt idx="45">
                  <c:v>86</c:v>
                </c:pt>
                <c:pt idx="46">
                  <c:v>87</c:v>
                </c:pt>
                <c:pt idx="47">
                  <c:v>92</c:v>
                </c:pt>
                <c:pt idx="48">
                  <c:v>105</c:v>
                </c:pt>
                <c:pt idx="49">
                  <c:v>111</c:v>
                </c:pt>
                <c:pt idx="50">
                  <c:v>118</c:v>
                </c:pt>
                <c:pt idx="51">
                  <c:v>125</c:v>
                </c:pt>
                <c:pt idx="52">
                  <c:v>128</c:v>
                </c:pt>
                <c:pt idx="53">
                  <c:v>137</c:v>
                </c:pt>
                <c:pt idx="54">
                  <c:v>142</c:v>
                </c:pt>
                <c:pt idx="55">
                  <c:v>154</c:v>
                </c:pt>
                <c:pt idx="56">
                  <c:v>167</c:v>
                </c:pt>
                <c:pt idx="57">
                  <c:v>174</c:v>
                </c:pt>
                <c:pt idx="58">
                  <c:v>185</c:v>
                </c:pt>
                <c:pt idx="59">
                  <c:v>191</c:v>
                </c:pt>
                <c:pt idx="60">
                  <c:v>208</c:v>
                </c:pt>
                <c:pt idx="61">
                  <c:v>230</c:v>
                </c:pt>
                <c:pt idx="62">
                  <c:v>247</c:v>
                </c:pt>
                <c:pt idx="63">
                  <c:v>269</c:v>
                </c:pt>
                <c:pt idx="64">
                  <c:v>290</c:v>
                </c:pt>
                <c:pt idx="65">
                  <c:v>307</c:v>
                </c:pt>
                <c:pt idx="66">
                  <c:v>311</c:v>
                </c:pt>
                <c:pt idx="67">
                  <c:v>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99.587316285525972</c:v>
                </c:pt>
                <c:pt idx="50">
                  <c:v>101.17612137720064</c:v>
                </c:pt>
                <c:pt idx="51">
                  <c:v>102.76590764306107</c:v>
                </c:pt>
                <c:pt idx="52">
                  <c:v>104.35644081355744</c:v>
                </c:pt>
                <c:pt idx="53">
                  <c:v>105.94749848632674</c:v>
                </c:pt>
                <c:pt idx="54">
                  <c:v>107.53889538628042</c:v>
                </c:pt>
                <c:pt idx="55">
                  <c:v>109.13058915562459</c:v>
                </c:pt>
                <c:pt idx="56">
                  <c:v>110.72251030955441</c:v>
                </c:pt>
                <c:pt idx="57">
                  <c:v>112.31464094411795</c:v>
                </c:pt>
                <c:pt idx="58">
                  <c:v>113.90697597106853</c:v>
                </c:pt>
                <c:pt idx="59">
                  <c:v>115.49946683448012</c:v>
                </c:pt>
                <c:pt idx="60">
                  <c:v>117.09209125599384</c:v>
                </c:pt>
                <c:pt idx="61">
                  <c:v>118.68484035310361</c:v>
                </c:pt>
                <c:pt idx="62">
                  <c:v>120.27765919505612</c:v>
                </c:pt>
                <c:pt idx="63">
                  <c:v>121.87055036311715</c:v>
                </c:pt>
                <c:pt idx="64">
                  <c:v>123.46349679663129</c:v>
                </c:pt>
                <c:pt idx="65">
                  <c:v>125.05649075742704</c:v>
                </c:pt>
                <c:pt idx="66">
                  <c:v>126.64948471822146</c:v>
                </c:pt>
                <c:pt idx="67">
                  <c:v>128.24247867901721</c:v>
                </c:pt>
                <c:pt idx="68">
                  <c:v>129.83547263981163</c:v>
                </c:pt>
                <c:pt idx="69">
                  <c:v>131.42846660060738</c:v>
                </c:pt>
                <c:pt idx="70">
                  <c:v>133.0214605614018</c:v>
                </c:pt>
                <c:pt idx="71">
                  <c:v>134.61445452219755</c:v>
                </c:pt>
                <c:pt idx="72">
                  <c:v>136.20744848299196</c:v>
                </c:pt>
                <c:pt idx="73">
                  <c:v>137.80044244378772</c:v>
                </c:pt>
                <c:pt idx="74">
                  <c:v>139.39343640458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9.866835888968367</c:v>
                </c:pt>
                <c:pt idx="50">
                  <c:v>101.77081230243876</c:v>
                </c:pt>
                <c:pt idx="51">
                  <c:v>103.7123579071235</c:v>
                </c:pt>
                <c:pt idx="52">
                  <c:v>105.69191907400017</c:v>
                </c:pt>
                <c:pt idx="53">
                  <c:v>107.71002458837889</c:v>
                </c:pt>
                <c:pt idx="54">
                  <c:v>109.76723231534021</c:v>
                </c:pt>
                <c:pt idx="55">
                  <c:v>111.86412236518726</c:v>
                </c:pt>
                <c:pt idx="56">
                  <c:v>114.00127685169713</c:v>
                </c:pt>
                <c:pt idx="57">
                  <c:v>116.17924662626075</c:v>
                </c:pt>
                <c:pt idx="58">
                  <c:v>118.39859020132933</c:v>
                </c:pt>
                <c:pt idx="59">
                  <c:v>120.659867445694</c:v>
                </c:pt>
                <c:pt idx="60">
                  <c:v>122.96361021724603</c:v>
                </c:pt>
                <c:pt idx="61">
                  <c:v>125.31036035230238</c:v>
                </c:pt>
                <c:pt idx="62">
                  <c:v>127.70065683686001</c:v>
                </c:pt>
                <c:pt idx="63">
                  <c:v>130.13503154856087</c:v>
                </c:pt>
                <c:pt idx="64">
                  <c:v>132.61398801216893</c:v>
                </c:pt>
                <c:pt idx="65">
                  <c:v>135.13803005211579</c:v>
                </c:pt>
                <c:pt idx="66">
                  <c:v>137.70765627825548</c:v>
                </c:pt>
                <c:pt idx="67">
                  <c:v>140.32335726921798</c:v>
                </c:pt>
                <c:pt idx="68">
                  <c:v>142.9856140047205</c:v>
                </c:pt>
                <c:pt idx="69">
                  <c:v>145.69493732602882</c:v>
                </c:pt>
                <c:pt idx="70">
                  <c:v>148.45185816213683</c:v>
                </c:pt>
                <c:pt idx="71">
                  <c:v>151.25692010436623</c:v>
                </c:pt>
                <c:pt idx="72">
                  <c:v>154.11067595123083</c:v>
                </c:pt>
                <c:pt idx="73">
                  <c:v>157.01368614200453</c:v>
                </c:pt>
                <c:pt idx="74">
                  <c:v>159.966518726864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00.2482547117999</c:v>
                </c:pt>
                <c:pt idx="50">
                  <c:v>102.58431878492534</c:v>
                </c:pt>
                <c:pt idx="51">
                  <c:v>105.01128350732955</c:v>
                </c:pt>
                <c:pt idx="52">
                  <c:v>107.53232087785038</c:v>
                </c:pt>
                <c:pt idx="53">
                  <c:v>110.15073124591727</c:v>
                </c:pt>
                <c:pt idx="54">
                  <c:v>112.86994286910141</c:v>
                </c:pt>
                <c:pt idx="55">
                  <c:v>115.69346827687926</c:v>
                </c:pt>
                <c:pt idx="56">
                  <c:v>118.62490416701634</c:v>
                </c:pt>
                <c:pt idx="57">
                  <c:v>121.6679358755473</c:v>
                </c:pt>
                <c:pt idx="58">
                  <c:v>124.8263438757055</c:v>
                </c:pt>
                <c:pt idx="59">
                  <c:v>128.10400723242893</c:v>
                </c:pt>
                <c:pt idx="60">
                  <c:v>131.5049086613291</c:v>
                </c:pt>
                <c:pt idx="61">
                  <c:v>135.03313235201932</c:v>
                </c:pt>
                <c:pt idx="62">
                  <c:v>138.69285531125891</c:v>
                </c:pt>
                <c:pt idx="63">
                  <c:v>142.48834631226913</c:v>
                </c:pt>
                <c:pt idx="64">
                  <c:v>146.42396583300095</c:v>
                </c:pt>
                <c:pt idx="65">
                  <c:v>150.50416656237334</c:v>
                </c:pt>
                <c:pt idx="66">
                  <c:v>154.73349212974281</c:v>
                </c:pt>
                <c:pt idx="67">
                  <c:v>159.11657548950549</c:v>
                </c:pt>
                <c:pt idx="68">
                  <c:v>163.65813691408437</c:v>
                </c:pt>
                <c:pt idx="69">
                  <c:v>168.36306136865466</c:v>
                </c:pt>
                <c:pt idx="70">
                  <c:v>173.23638080025256</c:v>
                </c:pt>
                <c:pt idx="71">
                  <c:v>178.28326112601732</c:v>
                </c:pt>
                <c:pt idx="72">
                  <c:v>183.50899641321229</c:v>
                </c:pt>
                <c:pt idx="73">
                  <c:v>188.91900628316583</c:v>
                </c:pt>
                <c:pt idx="74">
                  <c:v>194.51883575040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03.42875122569674</c:v>
                </c:pt>
                <c:pt idx="50">
                  <c:v>109.26640103450724</c:v>
                </c:pt>
                <c:pt idx="51">
                  <c:v>115.62562115005369</c:v>
                </c:pt>
                <c:pt idx="52">
                  <c:v>122.56506060249968</c:v>
                </c:pt>
                <c:pt idx="53">
                  <c:v>130.15756031080983</c:v>
                </c:pt>
                <c:pt idx="54">
                  <c:v>138.46553539580384</c:v>
                </c:pt>
                <c:pt idx="55">
                  <c:v>147.54541130652279</c:v>
                </c:pt>
                <c:pt idx="56">
                  <c:v>157.42564983371477</c:v>
                </c:pt>
                <c:pt idx="57">
                  <c:v>168.15866017681603</c:v>
                </c:pt>
                <c:pt idx="58">
                  <c:v>179.83068648152295</c:v>
                </c:pt>
                <c:pt idx="59">
                  <c:v>192.49008220367375</c:v>
                </c:pt>
                <c:pt idx="60">
                  <c:v>206.209559542465</c:v>
                </c:pt>
                <c:pt idx="61">
                  <c:v>221.08125627772674</c:v>
                </c:pt>
                <c:pt idx="62">
                  <c:v>236.90283592148305</c:v>
                </c:pt>
                <c:pt idx="63">
                  <c:v>253.54234567782004</c:v>
                </c:pt>
                <c:pt idx="64">
                  <c:v>270.90932765855359</c:v>
                </c:pt>
                <c:pt idx="65">
                  <c:v>288.94876029994441</c:v>
                </c:pt>
                <c:pt idx="66">
                  <c:v>307.64027041037207</c:v>
                </c:pt>
                <c:pt idx="67">
                  <c:v>326.93951830595825</c:v>
                </c:pt>
                <c:pt idx="68">
                  <c:v>346.81015437470978</c:v>
                </c:pt>
                <c:pt idx="69">
                  <c:v>367.2310639637476</c:v>
                </c:pt>
                <c:pt idx="70">
                  <c:v>388.16766132367479</c:v>
                </c:pt>
                <c:pt idx="71">
                  <c:v>409.58626407974714</c:v>
                </c:pt>
                <c:pt idx="72">
                  <c:v>431.46701235620867</c:v>
                </c:pt>
                <c:pt idx="73">
                  <c:v>453.79485162182317</c:v>
                </c:pt>
                <c:pt idx="74">
                  <c:v>476.54934166601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7</c:v>
                </c:pt>
                <c:pt idx="20">
                  <c:v>10</c:v>
                </c:pt>
                <c:pt idx="21">
                  <c:v>11</c:v>
                </c:pt>
                <c:pt idx="22">
                  <c:v>12</c:v>
                </c:pt>
                <c:pt idx="23">
                  <c:v>12</c:v>
                </c:pt>
                <c:pt idx="24">
                  <c:v>15</c:v>
                </c:pt>
                <c:pt idx="25">
                  <c:v>18</c:v>
                </c:pt>
                <c:pt idx="26">
                  <c:v>24</c:v>
                </c:pt>
                <c:pt idx="27">
                  <c:v>25</c:v>
                </c:pt>
                <c:pt idx="28">
                  <c:v>30</c:v>
                </c:pt>
                <c:pt idx="29">
                  <c:v>30</c:v>
                </c:pt>
                <c:pt idx="30">
                  <c:v>34</c:v>
                </c:pt>
                <c:pt idx="31">
                  <c:v>36</c:v>
                </c:pt>
                <c:pt idx="32">
                  <c:v>38</c:v>
                </c:pt>
                <c:pt idx="33">
                  <c:v>42</c:v>
                </c:pt>
                <c:pt idx="34">
                  <c:v>47</c:v>
                </c:pt>
                <c:pt idx="35">
                  <c:v>50</c:v>
                </c:pt>
                <c:pt idx="36">
                  <c:v>54</c:v>
                </c:pt>
                <c:pt idx="37">
                  <c:v>63</c:v>
                </c:pt>
                <c:pt idx="38">
                  <c:v>65</c:v>
                </c:pt>
                <c:pt idx="39">
                  <c:v>70</c:v>
                </c:pt>
                <c:pt idx="40">
                  <c:v>75</c:v>
                </c:pt>
                <c:pt idx="41">
                  <c:v>80</c:v>
                </c:pt>
                <c:pt idx="42">
                  <c:v>85</c:v>
                </c:pt>
                <c:pt idx="43">
                  <c:v>87</c:v>
                </c:pt>
                <c:pt idx="44">
                  <c:v>99</c:v>
                </c:pt>
                <c:pt idx="45">
                  <c:v>110</c:v>
                </c:pt>
                <c:pt idx="46">
                  <c:v>122</c:v>
                </c:pt>
                <c:pt idx="47">
                  <c:v>138</c:v>
                </c:pt>
                <c:pt idx="48">
                  <c:v>151</c:v>
                </c:pt>
                <c:pt idx="49">
                  <c:v>168</c:v>
                </c:pt>
                <c:pt idx="50">
                  <c:v>176</c:v>
                </c:pt>
                <c:pt idx="51">
                  <c:v>181</c:v>
                </c:pt>
                <c:pt idx="52">
                  <c:v>199</c:v>
                </c:pt>
                <c:pt idx="53">
                  <c:v>208</c:v>
                </c:pt>
                <c:pt idx="54">
                  <c:v>223</c:v>
                </c:pt>
                <c:pt idx="55">
                  <c:v>235</c:v>
                </c:pt>
                <c:pt idx="56">
                  <c:v>252</c:v>
                </c:pt>
                <c:pt idx="57">
                  <c:v>272</c:v>
                </c:pt>
                <c:pt idx="58">
                  <c:v>290</c:v>
                </c:pt>
                <c:pt idx="59">
                  <c:v>308</c:v>
                </c:pt>
                <c:pt idx="60">
                  <c:v>324</c:v>
                </c:pt>
                <c:pt idx="61">
                  <c:v>347</c:v>
                </c:pt>
                <c:pt idx="62">
                  <c:v>374</c:v>
                </c:pt>
                <c:pt idx="63">
                  <c:v>397</c:v>
                </c:pt>
                <c:pt idx="64">
                  <c:v>437</c:v>
                </c:pt>
                <c:pt idx="65">
                  <c:v>463</c:v>
                </c:pt>
                <c:pt idx="66">
                  <c:v>481</c:v>
                </c:pt>
                <c:pt idx="67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54.29427952724737</c:v>
                </c:pt>
                <c:pt idx="50">
                  <c:v>157.59164888836114</c:v>
                </c:pt>
                <c:pt idx="51">
                  <c:v>160.89105455569961</c:v>
                </c:pt>
                <c:pt idx="52">
                  <c:v>164.19201033165439</c:v>
                </c:pt>
                <c:pt idx="53">
                  <c:v>167.49405464750222</c:v>
                </c:pt>
                <c:pt idx="54">
                  <c:v>170.79680298760709</c:v>
                </c:pt>
                <c:pt idx="55">
                  <c:v>174.10016744358268</c:v>
                </c:pt>
                <c:pt idx="56">
                  <c:v>177.4040038082712</c:v>
                </c:pt>
                <c:pt idx="57">
                  <c:v>180.70827492422467</c:v>
                </c:pt>
                <c:pt idx="58">
                  <c:v>184.01297023141353</c:v>
                </c:pt>
                <c:pt idx="59">
                  <c:v>187.31798895799133</c:v>
                </c:pt>
                <c:pt idx="60">
                  <c:v>190.62328486796704</c:v>
                </c:pt>
                <c:pt idx="61">
                  <c:v>193.92883952679287</c:v>
                </c:pt>
                <c:pt idx="62">
                  <c:v>197.23453893245309</c:v>
                </c:pt>
                <c:pt idx="63">
                  <c:v>200.54038844204709</c:v>
                </c:pt>
                <c:pt idx="64">
                  <c:v>203.84635264828498</c:v>
                </c:pt>
                <c:pt idx="65">
                  <c:v>207.1524154915445</c:v>
                </c:pt>
                <c:pt idx="66">
                  <c:v>210.45847833480127</c:v>
                </c:pt>
                <c:pt idx="67">
                  <c:v>213.7645411780608</c:v>
                </c:pt>
                <c:pt idx="68">
                  <c:v>217.07060402131756</c:v>
                </c:pt>
                <c:pt idx="69">
                  <c:v>220.37666686457709</c:v>
                </c:pt>
                <c:pt idx="70">
                  <c:v>223.68272970783386</c:v>
                </c:pt>
                <c:pt idx="71">
                  <c:v>226.98879255109338</c:v>
                </c:pt>
                <c:pt idx="72">
                  <c:v>230.29485539435015</c:v>
                </c:pt>
                <c:pt idx="73">
                  <c:v>233.60091823760968</c:v>
                </c:pt>
                <c:pt idx="74">
                  <c:v>236.906981080866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54.87438805097457</c:v>
                </c:pt>
                <c:pt idx="50">
                  <c:v>158.82585668797594</c:v>
                </c:pt>
                <c:pt idx="51">
                  <c:v>162.85529555599001</c:v>
                </c:pt>
                <c:pt idx="52">
                  <c:v>166.96363104302552</c:v>
                </c:pt>
                <c:pt idx="53">
                  <c:v>171.15196057789191</c:v>
                </c:pt>
                <c:pt idx="54">
                  <c:v>175.42144194088198</c:v>
                </c:pt>
                <c:pt idx="55">
                  <c:v>179.77327907950928</c:v>
                </c:pt>
                <c:pt idx="56">
                  <c:v>184.20868009925087</c:v>
                </c:pt>
                <c:pt idx="57">
                  <c:v>188.72878822435024</c:v>
                </c:pt>
                <c:pt idx="58">
                  <c:v>193.3347625786383</c:v>
                </c:pt>
                <c:pt idx="59">
                  <c:v>198.0277651008625</c:v>
                </c:pt>
                <c:pt idx="60">
                  <c:v>202.80889959659609</c:v>
                </c:pt>
                <c:pt idx="61">
                  <c:v>207.6792905804065</c:v>
                </c:pt>
                <c:pt idx="62">
                  <c:v>212.64005665137282</c:v>
                </c:pt>
                <c:pt idx="63">
                  <c:v>217.69230165605853</c:v>
                </c:pt>
                <c:pt idx="64">
                  <c:v>222.83707059811945</c:v>
                </c:pt>
                <c:pt idx="65">
                  <c:v>228.07540910313483</c:v>
                </c:pt>
                <c:pt idx="66">
                  <c:v>233.40835197446998</c:v>
                </c:pt>
                <c:pt idx="67">
                  <c:v>238.83691734767356</c:v>
                </c:pt>
                <c:pt idx="68">
                  <c:v>244.36210343693256</c:v>
                </c:pt>
                <c:pt idx="69">
                  <c:v>249.98497043040157</c:v>
                </c:pt>
                <c:pt idx="70">
                  <c:v>255.70662020584183</c:v>
                </c:pt>
                <c:pt idx="71">
                  <c:v>261.52818092011694</c:v>
                </c:pt>
                <c:pt idx="72">
                  <c:v>267.45079983848416</c:v>
                </c:pt>
                <c:pt idx="73">
                  <c:v>273.47564008365771</c:v>
                </c:pt>
                <c:pt idx="74">
                  <c:v>279.60388057384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55.66597585916261</c:v>
                </c:pt>
                <c:pt idx="50">
                  <c:v>160.51418923705612</c:v>
                </c:pt>
                <c:pt idx="51">
                  <c:v>165.55105572124174</c:v>
                </c:pt>
                <c:pt idx="52">
                  <c:v>170.78315840478496</c:v>
                </c:pt>
                <c:pt idx="53">
                  <c:v>176.21734675660215</c:v>
                </c:pt>
                <c:pt idx="54">
                  <c:v>181.86073570321042</c:v>
                </c:pt>
                <c:pt idx="55">
                  <c:v>187.72061506709107</c:v>
                </c:pt>
                <c:pt idx="56">
                  <c:v>193.80444935164692</c:v>
                </c:pt>
                <c:pt idx="57">
                  <c:v>200.1198870180956</c:v>
                </c:pt>
                <c:pt idx="58">
                  <c:v>206.67477397319777</c:v>
                </c:pt>
                <c:pt idx="59">
                  <c:v>213.47716073865897</c:v>
                </c:pt>
                <c:pt idx="60">
                  <c:v>220.53531295039647</c:v>
                </c:pt>
                <c:pt idx="61">
                  <c:v>227.85770684112543</c:v>
                </c:pt>
                <c:pt idx="62">
                  <c:v>235.45301127412017</c:v>
                </c:pt>
                <c:pt idx="63">
                  <c:v>243.33008556264895</c:v>
                </c:pt>
                <c:pt idx="64">
                  <c:v>251.49797934185619</c:v>
                </c:pt>
                <c:pt idx="65">
                  <c:v>259.9659336193979</c:v>
                </c:pt>
                <c:pt idx="66">
                  <c:v>268.74337813861189</c:v>
                </c:pt>
                <c:pt idx="67">
                  <c:v>277.83992802595856</c:v>
                </c:pt>
                <c:pt idx="68">
                  <c:v>287.26537962571274</c:v>
                </c:pt>
                <c:pt idx="69">
                  <c:v>297.0298710816802</c:v>
                </c:pt>
                <c:pt idx="70">
                  <c:v>307.1438455804236</c:v>
                </c:pt>
                <c:pt idx="71">
                  <c:v>317.61802434696051</c:v>
                </c:pt>
                <c:pt idx="72">
                  <c:v>328.46339456611389</c:v>
                </c:pt>
                <c:pt idx="73">
                  <c:v>339.69120399471097</c:v>
                </c:pt>
                <c:pt idx="74">
                  <c:v>351.31296062772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62.31455179568462</c:v>
                </c:pt>
                <c:pt idx="50">
                  <c:v>174.48616431493829</c:v>
                </c:pt>
                <c:pt idx="51">
                  <c:v>187.74464025229213</c:v>
                </c:pt>
                <c:pt idx="52">
                  <c:v>202.21445638312341</c:v>
                </c:pt>
                <c:pt idx="53">
                  <c:v>218.04820479167603</c:v>
                </c:pt>
                <c:pt idx="54">
                  <c:v>235.37537488760915</c:v>
                </c:pt>
                <c:pt idx="55">
                  <c:v>254.31340854351322</c:v>
                </c:pt>
                <c:pt idx="56">
                  <c:v>274.92280809797182</c:v>
                </c:pt>
                <c:pt idx="57">
                  <c:v>297.31259870619357</c:v>
                </c:pt>
                <c:pt idx="58">
                  <c:v>321.66079902999428</c:v>
                </c:pt>
                <c:pt idx="59">
                  <c:v>348.06825760928132</c:v>
                </c:pt>
                <c:pt idx="60">
                  <c:v>376.68740839044142</c:v>
                </c:pt>
                <c:pt idx="61">
                  <c:v>407.70985028513547</c:v>
                </c:pt>
                <c:pt idx="62">
                  <c:v>440.71399151878973</c:v>
                </c:pt>
                <c:pt idx="63">
                  <c:v>475.42518953358632</c:v>
                </c:pt>
                <c:pt idx="64">
                  <c:v>511.65441288791652</c:v>
                </c:pt>
                <c:pt idx="65">
                  <c:v>549.28662129912186</c:v>
                </c:pt>
                <c:pt idx="66">
                  <c:v>588.27905965733771</c:v>
                </c:pt>
                <c:pt idx="67">
                  <c:v>628.53937099281018</c:v>
                </c:pt>
                <c:pt idx="68">
                  <c:v>669.99155497176662</c:v>
                </c:pt>
                <c:pt idx="69">
                  <c:v>712.59072288847256</c:v>
                </c:pt>
                <c:pt idx="70">
                  <c:v>756.26459984893256</c:v>
                </c:pt>
                <c:pt idx="71">
                  <c:v>800.94270632840039</c:v>
                </c:pt>
                <c:pt idx="72">
                  <c:v>846.58320559283914</c:v>
                </c:pt>
                <c:pt idx="73">
                  <c:v>893.15481705059801</c:v>
                </c:pt>
                <c:pt idx="74">
                  <c:v>940.61473007416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0</c:v>
                </c:pt>
                <c:pt idx="1">
                  <c:v>10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6</c:v>
                </c:pt>
                <c:pt idx="6">
                  <c:v>17</c:v>
                </c:pt>
                <c:pt idx="7">
                  <c:v>21</c:v>
                </c:pt>
                <c:pt idx="8">
                  <c:v>24</c:v>
                </c:pt>
                <c:pt idx="9">
                  <c:v>23</c:v>
                </c:pt>
                <c:pt idx="10">
                  <c:v>24</c:v>
                </c:pt>
                <c:pt idx="11">
                  <c:v>28</c:v>
                </c:pt>
                <c:pt idx="12">
                  <c:v>32</c:v>
                </c:pt>
                <c:pt idx="13">
                  <c:v>34</c:v>
                </c:pt>
                <c:pt idx="14">
                  <c:v>31</c:v>
                </c:pt>
                <c:pt idx="15">
                  <c:v>31</c:v>
                </c:pt>
                <c:pt idx="16">
                  <c:v>33</c:v>
                </c:pt>
                <c:pt idx="17">
                  <c:v>30</c:v>
                </c:pt>
                <c:pt idx="18">
                  <c:v>30</c:v>
                </c:pt>
                <c:pt idx="19">
                  <c:v>29</c:v>
                </c:pt>
                <c:pt idx="20">
                  <c:v>29</c:v>
                </c:pt>
                <c:pt idx="21">
                  <c:v>26</c:v>
                </c:pt>
                <c:pt idx="22">
                  <c:v>26</c:v>
                </c:pt>
                <c:pt idx="23">
                  <c:v>29</c:v>
                </c:pt>
                <c:pt idx="24">
                  <c:v>28</c:v>
                </c:pt>
                <c:pt idx="25">
                  <c:v>29</c:v>
                </c:pt>
                <c:pt idx="26">
                  <c:v>35</c:v>
                </c:pt>
                <c:pt idx="27">
                  <c:v>37</c:v>
                </c:pt>
                <c:pt idx="28">
                  <c:v>46</c:v>
                </c:pt>
                <c:pt idx="29">
                  <c:v>46</c:v>
                </c:pt>
                <c:pt idx="30">
                  <c:v>49</c:v>
                </c:pt>
                <c:pt idx="31">
                  <c:v>52</c:v>
                </c:pt>
                <c:pt idx="32">
                  <c:v>52</c:v>
                </c:pt>
                <c:pt idx="33">
                  <c:v>60</c:v>
                </c:pt>
                <c:pt idx="34">
                  <c:v>65</c:v>
                </c:pt>
                <c:pt idx="35">
                  <c:v>71</c:v>
                </c:pt>
                <c:pt idx="36">
                  <c:v>69</c:v>
                </c:pt>
                <c:pt idx="37">
                  <c:v>72</c:v>
                </c:pt>
                <c:pt idx="38">
                  <c:v>69</c:v>
                </c:pt>
                <c:pt idx="39">
                  <c:v>73</c:v>
                </c:pt>
                <c:pt idx="40">
                  <c:v>74</c:v>
                </c:pt>
                <c:pt idx="41">
                  <c:v>78</c:v>
                </c:pt>
                <c:pt idx="42">
                  <c:v>77</c:v>
                </c:pt>
                <c:pt idx="43">
                  <c:v>82</c:v>
                </c:pt>
                <c:pt idx="44">
                  <c:v>72</c:v>
                </c:pt>
                <c:pt idx="45">
                  <c:v>72</c:v>
                </c:pt>
                <c:pt idx="46">
                  <c:v>69</c:v>
                </c:pt>
                <c:pt idx="47">
                  <c:v>87</c:v>
                </c:pt>
                <c:pt idx="48">
                  <c:v>88</c:v>
                </c:pt>
                <c:pt idx="49">
                  <c:v>91</c:v>
                </c:pt>
                <c:pt idx="50">
                  <c:v>91</c:v>
                </c:pt>
                <c:pt idx="51">
                  <c:v>99</c:v>
                </c:pt>
                <c:pt idx="52">
                  <c:v>106</c:v>
                </c:pt>
                <c:pt idx="53">
                  <c:v>113</c:v>
                </c:pt>
                <c:pt idx="54">
                  <c:v>121</c:v>
                </c:pt>
                <c:pt idx="55">
                  <c:v>136</c:v>
                </c:pt>
                <c:pt idx="56">
                  <c:v>142</c:v>
                </c:pt>
                <c:pt idx="57">
                  <c:v>128</c:v>
                </c:pt>
                <c:pt idx="58">
                  <c:v>142</c:v>
                </c:pt>
                <c:pt idx="59">
                  <c:v>146</c:v>
                </c:pt>
                <c:pt idx="60">
                  <c:v>164</c:v>
                </c:pt>
                <c:pt idx="61">
                  <c:v>198</c:v>
                </c:pt>
                <c:pt idx="62">
                  <c:v>238</c:v>
                </c:pt>
                <c:pt idx="63">
                  <c:v>274</c:v>
                </c:pt>
                <c:pt idx="64">
                  <c:v>294</c:v>
                </c:pt>
                <c:pt idx="65">
                  <c:v>314</c:v>
                </c:pt>
                <c:pt idx="66">
                  <c:v>315</c:v>
                </c:pt>
                <c:pt idx="67">
                  <c:v>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4.028631596990401</c:v>
                </c:pt>
                <c:pt idx="50">
                  <c:v>34.146928000495585</c:v>
                </c:pt>
                <c:pt idx="51">
                  <c:v>34.247255212446603</c:v>
                </c:pt>
                <c:pt idx="52">
                  <c:v>34.332474352765104</c:v>
                </c:pt>
                <c:pt idx="53">
                  <c:v>34.405173867977986</c:v>
                </c:pt>
                <c:pt idx="54">
                  <c:v>34.467364661851661</c:v>
                </c:pt>
                <c:pt idx="55">
                  <c:v>34.520573168093222</c:v>
                </c:pt>
                <c:pt idx="56">
                  <c:v>34.566081798976292</c:v>
                </c:pt>
                <c:pt idx="57">
                  <c:v>34.604855050664561</c:v>
                </c:pt>
                <c:pt idx="58">
                  <c:v>34.637889774349063</c:v>
                </c:pt>
                <c:pt idx="59">
                  <c:v>34.666035285014118</c:v>
                </c:pt>
                <c:pt idx="60">
                  <c:v>34.690015197126066</c:v>
                </c:pt>
                <c:pt idx="61">
                  <c:v>34.71044602859115</c:v>
                </c:pt>
                <c:pt idx="62">
                  <c:v>34.727853051286061</c:v>
                </c:pt>
                <c:pt idx="63">
                  <c:v>34.742683795674466</c:v>
                </c:pt>
                <c:pt idx="64">
                  <c:v>34.75531955671007</c:v>
                </c:pt>
                <c:pt idx="65">
                  <c:v>34.766085196840294</c:v>
                </c:pt>
                <c:pt idx="66">
                  <c:v>34.775257498143461</c:v>
                </c:pt>
                <c:pt idx="67">
                  <c:v>34.783072278331019</c:v>
                </c:pt>
                <c:pt idx="68">
                  <c:v>34.78973045356549</c:v>
                </c:pt>
                <c:pt idx="69">
                  <c:v>34.795403203967794</c:v>
                </c:pt>
                <c:pt idx="70">
                  <c:v>34.800236374617953</c:v>
                </c:pt>
                <c:pt idx="71">
                  <c:v>34.80435422519782</c:v>
                </c:pt>
                <c:pt idx="72">
                  <c:v>34.8078626246783</c:v>
                </c:pt>
                <c:pt idx="73">
                  <c:v>34.810851773185732</c:v>
                </c:pt>
                <c:pt idx="74">
                  <c:v>34.813398521025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1.868384469760493</c:v>
                </c:pt>
                <c:pt idx="50">
                  <c:v>42.820301512828983</c:v>
                </c:pt>
                <c:pt idx="51">
                  <c:v>43.779881461837682</c:v>
                </c:pt>
                <c:pt idx="52">
                  <c:v>44.748246402347377</c:v>
                </c:pt>
                <c:pt idx="53">
                  <c:v>45.726271226025638</c:v>
                </c:pt>
                <c:pt idx="54">
                  <c:v>46.71465165783011</c:v>
                </c:pt>
                <c:pt idx="55">
                  <c:v>47.713851671344088</c:v>
                </c:pt>
                <c:pt idx="56">
                  <c:v>48.724213798926321</c:v>
                </c:pt>
                <c:pt idx="57">
                  <c:v>49.746020696952215</c:v>
                </c:pt>
                <c:pt idx="58">
                  <c:v>50.779402004851974</c:v>
                </c:pt>
                <c:pt idx="59">
                  <c:v>51.824488830532758</c:v>
                </c:pt>
                <c:pt idx="60">
                  <c:v>52.881413767012731</c:v>
                </c:pt>
                <c:pt idx="61">
                  <c:v>53.95031090924347</c:v>
                </c:pt>
                <c:pt idx="62">
                  <c:v>55.031315871122978</c:v>
                </c:pt>
                <c:pt idx="63">
                  <c:v>56.124565802701404</c:v>
                </c:pt>
                <c:pt idx="64">
                  <c:v>57.230199407581601</c:v>
                </c:pt>
                <c:pt idx="65">
                  <c:v>58.348356960516881</c:v>
                </c:pt>
                <c:pt idx="66">
                  <c:v>59.479180325207999</c:v>
                </c:pt>
                <c:pt idx="67">
                  <c:v>60.622812972301844</c:v>
                </c:pt>
                <c:pt idx="68">
                  <c:v>61.779399997593913</c:v>
                </c:pt>
                <c:pt idx="69">
                  <c:v>62.949088140437041</c:v>
                </c:pt>
                <c:pt idx="70">
                  <c:v>64.132025802358584</c:v>
                </c:pt>
                <c:pt idx="71">
                  <c:v>65.328363065888553</c:v>
                </c:pt>
                <c:pt idx="72">
                  <c:v>66.538251713601028</c:v>
                </c:pt>
                <c:pt idx="73">
                  <c:v>67.761845247371141</c:v>
                </c:pt>
                <c:pt idx="74">
                  <c:v>68.999298907850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52.998012792260482</c:v>
                </c:pt>
                <c:pt idx="50">
                  <c:v>55.228744002450938</c:v>
                </c:pt>
                <c:pt idx="51">
                  <c:v>57.538312570820793</c:v>
                </c:pt>
                <c:pt idx="52">
                  <c:v>59.928920940462469</c:v>
                </c:pt>
                <c:pt idx="53">
                  <c:v>62.40281822542196</c:v>
                </c:pt>
                <c:pt idx="54">
                  <c:v>64.962288188380029</c:v>
                </c:pt>
                <c:pt idx="55">
                  <c:v>67.609624745912697</c:v>
                </c:pt>
                <c:pt idx="56">
                  <c:v>70.347129940282031</c:v>
                </c:pt>
                <c:pt idx="57">
                  <c:v>73.177115247534957</c:v>
                </c:pt>
                <c:pt idx="58">
                  <c:v>76.102704888694575</c:v>
                </c:pt>
                <c:pt idx="59">
                  <c:v>79.127128629172816</c:v>
                </c:pt>
                <c:pt idx="60">
                  <c:v>82.253725344337127</c:v>
                </c:pt>
                <c:pt idx="61">
                  <c:v>85.485946705531234</c:v>
                </c:pt>
                <c:pt idx="62">
                  <c:v>88.827360990619283</c:v>
                </c:pt>
                <c:pt idx="63">
                  <c:v>92.281657023260351</c:v>
                </c:pt>
                <c:pt idx="64">
                  <c:v>95.852648245261847</c:v>
                </c:pt>
                <c:pt idx="65">
                  <c:v>99.544276926507749</c:v>
                </c:pt>
                <c:pt idx="66">
                  <c:v>103.3606185171093</c:v>
                </c:pt>
                <c:pt idx="67">
                  <c:v>107.30588614658274</c:v>
                </c:pt>
                <c:pt idx="68">
                  <c:v>111.38443527502108</c:v>
                </c:pt>
                <c:pt idx="69">
                  <c:v>115.60076850139471</c:v>
                </c:pt>
                <c:pt idx="70">
                  <c:v>119.95954053428895</c:v>
                </c:pt>
                <c:pt idx="71">
                  <c:v>124.46556333056625</c:v>
                </c:pt>
                <c:pt idx="72">
                  <c:v>129.12381140762585</c:v>
                </c:pt>
                <c:pt idx="73">
                  <c:v>133.93942733512549</c:v>
                </c:pt>
                <c:pt idx="74">
                  <c:v>138.917727412227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86.862941209169719</c:v>
                </c:pt>
                <c:pt idx="50">
                  <c:v>93.823118540058729</c:v>
                </c:pt>
                <c:pt idx="51">
                  <c:v>101.29406826711664</c:v>
                </c:pt>
                <c:pt idx="52">
                  <c:v>109.51232456008597</c:v>
                </c:pt>
                <c:pt idx="53">
                  <c:v>118.63727948296028</c:v>
                </c:pt>
                <c:pt idx="54">
                  <c:v>128.67462362618363</c:v>
                </c:pt>
                <c:pt idx="55">
                  <c:v>139.50730011088098</c:v>
                </c:pt>
                <c:pt idx="56">
                  <c:v>151.19543369962236</c:v>
                </c:pt>
                <c:pt idx="57">
                  <c:v>164.17894318526362</c:v>
                </c:pt>
                <c:pt idx="58">
                  <c:v>178.27126394906389</c:v>
                </c:pt>
                <c:pt idx="59">
                  <c:v>193.57685327174448</c:v>
                </c:pt>
                <c:pt idx="60">
                  <c:v>210.14991145199227</c:v>
                </c:pt>
                <c:pt idx="61">
                  <c:v>227.86091826480782</c:v>
                </c:pt>
                <c:pt idx="62">
                  <c:v>246.32865747750324</c:v>
                </c:pt>
                <c:pt idx="63">
                  <c:v>264.95712538813984</c:v>
                </c:pt>
                <c:pt idx="64">
                  <c:v>283.59395296986838</c:v>
                </c:pt>
                <c:pt idx="65">
                  <c:v>302.35199809208012</c:v>
                </c:pt>
                <c:pt idx="66">
                  <c:v>320.85027636104218</c:v>
                </c:pt>
                <c:pt idx="67">
                  <c:v>338.91006579718544</c:v>
                </c:pt>
                <c:pt idx="68">
                  <c:v>356.55301123456206</c:v>
                </c:pt>
                <c:pt idx="69">
                  <c:v>373.71275284907011</c:v>
                </c:pt>
                <c:pt idx="70">
                  <c:v>390.31376637089619</c:v>
                </c:pt>
                <c:pt idx="71">
                  <c:v>406.39335430570384</c:v>
                </c:pt>
                <c:pt idx="72">
                  <c:v>421.90848696604752</c:v>
                </c:pt>
                <c:pt idx="73">
                  <c:v>436.76070920870109</c:v>
                </c:pt>
                <c:pt idx="74">
                  <c:v>451.024585220372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5</c:v>
                </c:pt>
                <c:pt idx="14">
                  <c:v>7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8</c:v>
                </c:pt>
                <c:pt idx="20">
                  <c:v>11</c:v>
                </c:pt>
                <c:pt idx="21">
                  <c:v>12</c:v>
                </c:pt>
                <c:pt idx="22">
                  <c:v>12</c:v>
                </c:pt>
                <c:pt idx="23">
                  <c:v>14</c:v>
                </c:pt>
                <c:pt idx="24">
                  <c:v>15</c:v>
                </c:pt>
                <c:pt idx="25">
                  <c:v>16</c:v>
                </c:pt>
                <c:pt idx="26">
                  <c:v>22</c:v>
                </c:pt>
                <c:pt idx="27">
                  <c:v>22</c:v>
                </c:pt>
                <c:pt idx="28">
                  <c:v>25</c:v>
                </c:pt>
                <c:pt idx="29">
                  <c:v>25</c:v>
                </c:pt>
                <c:pt idx="30">
                  <c:v>30</c:v>
                </c:pt>
                <c:pt idx="31">
                  <c:v>30</c:v>
                </c:pt>
                <c:pt idx="32">
                  <c:v>30</c:v>
                </c:pt>
                <c:pt idx="33">
                  <c:v>33</c:v>
                </c:pt>
                <c:pt idx="34">
                  <c:v>34</c:v>
                </c:pt>
                <c:pt idx="35">
                  <c:v>34</c:v>
                </c:pt>
                <c:pt idx="36">
                  <c:v>35</c:v>
                </c:pt>
                <c:pt idx="37">
                  <c:v>35</c:v>
                </c:pt>
                <c:pt idx="38">
                  <c:v>38</c:v>
                </c:pt>
                <c:pt idx="39">
                  <c:v>41</c:v>
                </c:pt>
                <c:pt idx="40">
                  <c:v>42</c:v>
                </c:pt>
                <c:pt idx="41">
                  <c:v>45</c:v>
                </c:pt>
                <c:pt idx="42">
                  <c:v>48</c:v>
                </c:pt>
                <c:pt idx="43">
                  <c:v>53</c:v>
                </c:pt>
                <c:pt idx="44">
                  <c:v>56</c:v>
                </c:pt>
                <c:pt idx="45">
                  <c:v>57</c:v>
                </c:pt>
                <c:pt idx="46">
                  <c:v>61</c:v>
                </c:pt>
                <c:pt idx="47">
                  <c:v>65</c:v>
                </c:pt>
                <c:pt idx="48">
                  <c:v>74</c:v>
                </c:pt>
                <c:pt idx="49">
                  <c:v>77</c:v>
                </c:pt>
                <c:pt idx="50">
                  <c:v>83</c:v>
                </c:pt>
                <c:pt idx="51">
                  <c:v>86</c:v>
                </c:pt>
                <c:pt idx="52">
                  <c:v>89</c:v>
                </c:pt>
                <c:pt idx="53">
                  <c:v>94</c:v>
                </c:pt>
                <c:pt idx="54">
                  <c:v>101</c:v>
                </c:pt>
                <c:pt idx="55">
                  <c:v>112</c:v>
                </c:pt>
                <c:pt idx="56">
                  <c:v>119</c:v>
                </c:pt>
                <c:pt idx="57">
                  <c:v>127</c:v>
                </c:pt>
                <c:pt idx="58">
                  <c:v>143</c:v>
                </c:pt>
                <c:pt idx="59">
                  <c:v>153</c:v>
                </c:pt>
                <c:pt idx="60">
                  <c:v>167</c:v>
                </c:pt>
                <c:pt idx="61">
                  <c:v>192</c:v>
                </c:pt>
                <c:pt idx="62">
                  <c:v>210</c:v>
                </c:pt>
                <c:pt idx="63">
                  <c:v>224</c:v>
                </c:pt>
                <c:pt idx="64">
                  <c:v>247</c:v>
                </c:pt>
                <c:pt idx="65">
                  <c:v>259</c:v>
                </c:pt>
                <c:pt idx="66">
                  <c:v>265</c:v>
                </c:pt>
                <c:pt idx="67">
                  <c:v>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5.32409298189603</c:v>
                </c:pt>
                <c:pt idx="50">
                  <c:v>76.649427882488965</c:v>
                </c:pt>
                <c:pt idx="51">
                  <c:v>77.975581249990626</c:v>
                </c:pt>
                <c:pt idx="52">
                  <c:v>79.302357663570504</c:v>
                </c:pt>
                <c:pt idx="53">
                  <c:v>80.629571601659464</c:v>
                </c:pt>
                <c:pt idx="54">
                  <c:v>81.957068513178612</c:v>
                </c:pt>
                <c:pt idx="55">
                  <c:v>83.284813064490834</c:v>
                </c:pt>
                <c:pt idx="56">
                  <c:v>84.612747293397106</c:v>
                </c:pt>
                <c:pt idx="57">
                  <c:v>85.940856264942568</c:v>
                </c:pt>
                <c:pt idx="58">
                  <c:v>87.269135734660125</c:v>
                </c:pt>
                <c:pt idx="59">
                  <c:v>88.597545198611499</c:v>
                </c:pt>
                <c:pt idx="60">
                  <c:v>89.926066072839035</c:v>
                </c:pt>
                <c:pt idx="61">
                  <c:v>91.254690947815035</c:v>
                </c:pt>
                <c:pt idx="62">
                  <c:v>92.58337400190608</c:v>
                </c:pt>
                <c:pt idx="63">
                  <c:v>93.912117388328852</c:v>
                </c:pt>
                <c:pt idx="64">
                  <c:v>95.240906875581857</c:v>
                </c:pt>
                <c:pt idx="65">
                  <c:v>96.569736008707963</c:v>
                </c:pt>
                <c:pt idx="66">
                  <c:v>97.898565141832961</c:v>
                </c:pt>
                <c:pt idx="67">
                  <c:v>99.227394274959067</c:v>
                </c:pt>
                <c:pt idx="68">
                  <c:v>100.55622340808407</c:v>
                </c:pt>
                <c:pt idx="69">
                  <c:v>101.88505254121017</c:v>
                </c:pt>
                <c:pt idx="70">
                  <c:v>103.21388167433517</c:v>
                </c:pt>
                <c:pt idx="71">
                  <c:v>104.54271080746128</c:v>
                </c:pt>
                <c:pt idx="72">
                  <c:v>105.87153994058627</c:v>
                </c:pt>
                <c:pt idx="73">
                  <c:v>107.20036907371238</c:v>
                </c:pt>
                <c:pt idx="74">
                  <c:v>108.52919820683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5.557260088285176</c:v>
                </c:pt>
                <c:pt idx="50">
                  <c:v>77.145501719622288</c:v>
                </c:pt>
                <c:pt idx="51">
                  <c:v>78.765082475288963</c:v>
                </c:pt>
                <c:pt idx="52">
                  <c:v>80.416374704944886</c:v>
                </c:pt>
                <c:pt idx="53">
                  <c:v>82.099819505883914</c:v>
                </c:pt>
                <c:pt idx="54">
                  <c:v>83.815882232896868</c:v>
                </c:pt>
                <c:pt idx="55">
                  <c:v>85.565046797090901</c:v>
                </c:pt>
                <c:pt idx="56">
                  <c:v>87.34779878081271</c:v>
                </c:pt>
                <c:pt idx="57">
                  <c:v>89.164597688237635</c:v>
                </c:pt>
                <c:pt idx="58">
                  <c:v>91.015909414174246</c:v>
                </c:pt>
                <c:pt idx="59">
                  <c:v>92.90220098485031</c:v>
                </c:pt>
                <c:pt idx="60">
                  <c:v>94.823916060617321</c:v>
                </c:pt>
                <c:pt idx="61">
                  <c:v>96.781506625538697</c:v>
                </c:pt>
                <c:pt idx="62">
                  <c:v>98.775422286023954</c:v>
                </c:pt>
                <c:pt idx="63">
                  <c:v>100.80610671890005</c:v>
                </c:pt>
                <c:pt idx="64">
                  <c:v>102.87397994984948</c:v>
                </c:pt>
                <c:pt idx="65">
                  <c:v>104.97946225452878</c:v>
                </c:pt>
                <c:pt idx="66">
                  <c:v>107.12296955874581</c:v>
                </c:pt>
                <c:pt idx="67">
                  <c:v>109.30491108889544</c:v>
                </c:pt>
                <c:pt idx="68">
                  <c:v>111.52568806423925</c:v>
                </c:pt>
                <c:pt idx="69">
                  <c:v>113.78572661367232</c:v>
                </c:pt>
                <c:pt idx="70">
                  <c:v>116.08546962268706</c:v>
                </c:pt>
                <c:pt idx="71">
                  <c:v>118.42537053932062</c:v>
                </c:pt>
                <c:pt idx="72">
                  <c:v>120.80589049198156</c:v>
                </c:pt>
                <c:pt idx="73">
                  <c:v>123.22749698277769</c:v>
                </c:pt>
                <c:pt idx="74">
                  <c:v>125.69066386261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5.875428553561733</c:v>
                </c:pt>
                <c:pt idx="50">
                  <c:v>77.824105117073401</c:v>
                </c:pt>
                <c:pt idx="51">
                  <c:v>79.848608352847776</c:v>
                </c:pt>
                <c:pt idx="52">
                  <c:v>81.951584249865149</c:v>
                </c:pt>
                <c:pt idx="53">
                  <c:v>84.135785863428481</c:v>
                </c:pt>
                <c:pt idx="54">
                  <c:v>86.404072946084597</c:v>
                </c:pt>
                <c:pt idx="55">
                  <c:v>88.759375547547521</c:v>
                </c:pt>
                <c:pt idx="56">
                  <c:v>91.204693928264888</c:v>
                </c:pt>
                <c:pt idx="57">
                  <c:v>93.743102288144982</c:v>
                </c:pt>
                <c:pt idx="58">
                  <c:v>96.377754187774428</c:v>
                </c:pt>
                <c:pt idx="59">
                  <c:v>99.111885430066337</c:v>
                </c:pt>
                <c:pt idx="60">
                  <c:v>101.94881828030466</c:v>
                </c:pt>
                <c:pt idx="61">
                  <c:v>104.89195965042816</c:v>
                </c:pt>
                <c:pt idx="62">
                  <c:v>107.94479387773356</c:v>
                </c:pt>
                <c:pt idx="63">
                  <c:v>111.11088184842551</c:v>
                </c:pt>
                <c:pt idx="64">
                  <c:v>114.39386094612141</c:v>
                </c:pt>
                <c:pt idx="65">
                  <c:v>117.7974454741406</c:v>
                </c:pt>
                <c:pt idx="66">
                  <c:v>121.32542559566488</c:v>
                </c:pt>
                <c:pt idx="67">
                  <c:v>124.98166598622069</c:v>
                </c:pt>
                <c:pt idx="68">
                  <c:v>128.77010415948749</c:v>
                </c:pt>
                <c:pt idx="69">
                  <c:v>132.69481501103857</c:v>
                </c:pt>
                <c:pt idx="70">
                  <c:v>136.7599960444318</c:v>
                </c:pt>
                <c:pt idx="71">
                  <c:v>140.96995651718029</c:v>
                </c:pt>
                <c:pt idx="72">
                  <c:v>145.3291125858957</c:v>
                </c:pt>
                <c:pt idx="73">
                  <c:v>149.84198514073131</c:v>
                </c:pt>
                <c:pt idx="74">
                  <c:v>154.51319967119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8.228209745256237</c:v>
                </c:pt>
                <c:pt idx="50">
                  <c:v>82.744526911313955</c:v>
                </c:pt>
                <c:pt idx="51">
                  <c:v>87.66825453998301</c:v>
                </c:pt>
                <c:pt idx="52">
                  <c:v>93.03100665471942</c:v>
                </c:pt>
                <c:pt idx="53">
                  <c:v>98.884634579508031</c:v>
                </c:pt>
                <c:pt idx="54">
                  <c:v>105.28148868819476</c:v>
                </c:pt>
                <c:pt idx="55">
                  <c:v>112.26651735263439</c:v>
                </c:pt>
                <c:pt idx="56">
                  <c:v>119.85446631866802</c:v>
                </c:pt>
                <c:pt idx="57">
                  <c:v>128.08744513923199</c:v>
                </c:pt>
                <c:pt idx="58">
                  <c:v>137.04348685140809</c:v>
                </c:pt>
                <c:pt idx="59">
                  <c:v>146.7598078941615</c:v>
                </c:pt>
                <c:pt idx="60">
                  <c:v>157.28746808743512</c:v>
                </c:pt>
                <c:pt idx="61">
                  <c:v>168.70095184558335</c:v>
                </c:pt>
                <c:pt idx="62">
                  <c:v>180.84194027026786</c:v>
                </c:pt>
                <c:pt idx="63">
                  <c:v>193.6053252330089</c:v>
                </c:pt>
                <c:pt idx="64">
                  <c:v>206.92379105744806</c:v>
                </c:pt>
                <c:pt idx="65">
                  <c:v>220.75677386319859</c:v>
                </c:pt>
                <c:pt idx="66">
                  <c:v>235.09024793026535</c:v>
                </c:pt>
                <c:pt idx="67">
                  <c:v>249.88933150998162</c:v>
                </c:pt>
                <c:pt idx="68">
                  <c:v>265.12722494014889</c:v>
                </c:pt>
                <c:pt idx="69">
                  <c:v>280.79301696852298</c:v>
                </c:pt>
                <c:pt idx="70">
                  <c:v>296.86097284955173</c:v>
                </c:pt>
                <c:pt idx="71">
                  <c:v>313.30661019721288</c:v>
                </c:pt>
                <c:pt idx="72">
                  <c:v>330.11725375699916</c:v>
                </c:pt>
                <c:pt idx="73">
                  <c:v>347.28057622471357</c:v>
                </c:pt>
                <c:pt idx="74">
                  <c:v>364.78197146262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5</c:v>
                </c:pt>
                <c:pt idx="12">
                  <c:v>7</c:v>
                </c:pt>
                <c:pt idx="13">
                  <c:v>9</c:v>
                </c:pt>
                <c:pt idx="14">
                  <c:v>9</c:v>
                </c:pt>
                <c:pt idx="15">
                  <c:v>10</c:v>
                </c:pt>
                <c:pt idx="16">
                  <c:v>11</c:v>
                </c:pt>
                <c:pt idx="17">
                  <c:v>12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7</c:v>
                </c:pt>
                <c:pt idx="27">
                  <c:v>18</c:v>
                </c:pt>
                <c:pt idx="28">
                  <c:v>18</c:v>
                </c:pt>
                <c:pt idx="29">
                  <c:v>19</c:v>
                </c:pt>
                <c:pt idx="30">
                  <c:v>19</c:v>
                </c:pt>
                <c:pt idx="31">
                  <c:v>20</c:v>
                </c:pt>
                <c:pt idx="32">
                  <c:v>20</c:v>
                </c:pt>
                <c:pt idx="33">
                  <c:v>20</c:v>
                </c:pt>
                <c:pt idx="34">
                  <c:v>20</c:v>
                </c:pt>
                <c:pt idx="35">
                  <c:v>21</c:v>
                </c:pt>
                <c:pt idx="36">
                  <c:v>21</c:v>
                </c:pt>
                <c:pt idx="37">
                  <c:v>21</c:v>
                </c:pt>
                <c:pt idx="38">
                  <c:v>21</c:v>
                </c:pt>
                <c:pt idx="39">
                  <c:v>21</c:v>
                </c:pt>
                <c:pt idx="40">
                  <c:v>21</c:v>
                </c:pt>
                <c:pt idx="41">
                  <c:v>23</c:v>
                </c:pt>
                <c:pt idx="42">
                  <c:v>25</c:v>
                </c:pt>
                <c:pt idx="43">
                  <c:v>27</c:v>
                </c:pt>
                <c:pt idx="44">
                  <c:v>29</c:v>
                </c:pt>
                <c:pt idx="45">
                  <c:v>30</c:v>
                </c:pt>
                <c:pt idx="46">
                  <c:v>30</c:v>
                </c:pt>
                <c:pt idx="47">
                  <c:v>33</c:v>
                </c:pt>
                <c:pt idx="48">
                  <c:v>35</c:v>
                </c:pt>
                <c:pt idx="49">
                  <c:v>36</c:v>
                </c:pt>
                <c:pt idx="50">
                  <c:v>38</c:v>
                </c:pt>
                <c:pt idx="51">
                  <c:v>38</c:v>
                </c:pt>
                <c:pt idx="52">
                  <c:v>40</c:v>
                </c:pt>
                <c:pt idx="53">
                  <c:v>41</c:v>
                </c:pt>
                <c:pt idx="54">
                  <c:v>43</c:v>
                </c:pt>
                <c:pt idx="55">
                  <c:v>43</c:v>
                </c:pt>
                <c:pt idx="56">
                  <c:v>43</c:v>
                </c:pt>
                <c:pt idx="57">
                  <c:v>46</c:v>
                </c:pt>
                <c:pt idx="58">
                  <c:v>46</c:v>
                </c:pt>
                <c:pt idx="59">
                  <c:v>48</c:v>
                </c:pt>
                <c:pt idx="60">
                  <c:v>50</c:v>
                </c:pt>
                <c:pt idx="61">
                  <c:v>50</c:v>
                </c:pt>
                <c:pt idx="62">
                  <c:v>55</c:v>
                </c:pt>
                <c:pt idx="63">
                  <c:v>59</c:v>
                </c:pt>
                <c:pt idx="64">
                  <c:v>61</c:v>
                </c:pt>
                <c:pt idx="65">
                  <c:v>64</c:v>
                </c:pt>
                <c:pt idx="66">
                  <c:v>70</c:v>
                </c:pt>
                <c:pt idx="67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5.574305389738036</c:v>
                </c:pt>
                <c:pt idx="50">
                  <c:v>36.149149443007261</c:v>
                </c:pt>
                <c:pt idx="51">
                  <c:v>36.724348493971839</c:v>
                </c:pt>
                <c:pt idx="52">
                  <c:v>37.299817781789621</c:v>
                </c:pt>
                <c:pt idx="53">
                  <c:v>37.875476839273993</c:v>
                </c:pt>
                <c:pt idx="54">
                  <c:v>38.451258632222057</c:v>
                </c:pt>
                <c:pt idx="55">
                  <c:v>39.02714783520085</c:v>
                </c:pt>
                <c:pt idx="56">
                  <c:v>39.603119307979476</c:v>
                </c:pt>
                <c:pt idx="57">
                  <c:v>40.179166572746183</c:v>
                </c:pt>
                <c:pt idx="58">
                  <c:v>40.755287788527298</c:v>
                </c:pt>
                <c:pt idx="59">
                  <c:v>41.331465387349574</c:v>
                </c:pt>
                <c:pt idx="60">
                  <c:v>41.907691308701274</c:v>
                </c:pt>
                <c:pt idx="61">
                  <c:v>42.483962338811345</c:v>
                </c:pt>
                <c:pt idx="62">
                  <c:v>43.06025860323637</c:v>
                </c:pt>
                <c:pt idx="63">
                  <c:v>43.636581035901671</c:v>
                </c:pt>
                <c:pt idx="64">
                  <c:v>44.212923464107796</c:v>
                </c:pt>
                <c:pt idx="65">
                  <c:v>44.789283088114303</c:v>
                </c:pt>
                <c:pt idx="66">
                  <c:v>45.365642712120327</c:v>
                </c:pt>
                <c:pt idx="67">
                  <c:v>45.942002336126833</c:v>
                </c:pt>
                <c:pt idx="68">
                  <c:v>46.518361960132857</c:v>
                </c:pt>
                <c:pt idx="69">
                  <c:v>47.094721584139364</c:v>
                </c:pt>
                <c:pt idx="70">
                  <c:v>47.671081208145388</c:v>
                </c:pt>
                <c:pt idx="71">
                  <c:v>48.247440832151895</c:v>
                </c:pt>
                <c:pt idx="72">
                  <c:v>48.823800456157919</c:v>
                </c:pt>
                <c:pt idx="73">
                  <c:v>49.400160080164426</c:v>
                </c:pt>
                <c:pt idx="74">
                  <c:v>49.97651970417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5.675438110581524</c:v>
                </c:pt>
                <c:pt idx="50">
                  <c:v>36.364313998872319</c:v>
                </c:pt>
                <c:pt idx="51">
                  <c:v>37.066782760366294</c:v>
                </c:pt>
                <c:pt idx="52">
                  <c:v>37.78300589612067</c:v>
                </c:pt>
                <c:pt idx="53">
                  <c:v>38.513174725443626</c:v>
                </c:pt>
                <c:pt idx="54">
                  <c:v>39.257491088967321</c:v>
                </c:pt>
                <c:pt idx="55">
                  <c:v>40.016164875846655</c:v>
                </c:pt>
                <c:pt idx="56">
                  <c:v>40.789406700111535</c:v>
                </c:pt>
                <c:pt idx="57">
                  <c:v>41.57741586477777</c:v>
                </c:pt>
                <c:pt idx="58">
                  <c:v>42.380394444702077</c:v>
                </c:pt>
                <c:pt idx="59">
                  <c:v>43.198545005477236</c:v>
                </c:pt>
                <c:pt idx="60">
                  <c:v>44.03205997809907</c:v>
                </c:pt>
                <c:pt idx="61">
                  <c:v>44.881135403848099</c:v>
                </c:pt>
                <c:pt idx="62">
                  <c:v>45.745966292733264</c:v>
                </c:pt>
                <c:pt idx="63">
                  <c:v>46.626745082896392</c:v>
                </c:pt>
                <c:pt idx="64">
                  <c:v>47.523653954151563</c:v>
                </c:pt>
                <c:pt idx="65">
                  <c:v>48.436875194735357</c:v>
                </c:pt>
                <c:pt idx="66">
                  <c:v>49.366589206202981</c:v>
                </c:pt>
                <c:pt idx="67">
                  <c:v>50.312973484340169</c:v>
                </c:pt>
                <c:pt idx="68">
                  <c:v>51.276202051959174</c:v>
                </c:pt>
                <c:pt idx="69">
                  <c:v>52.256459736050623</c:v>
                </c:pt>
                <c:pt idx="70">
                  <c:v>53.253938631526893</c:v>
                </c:pt>
                <c:pt idx="71">
                  <c:v>54.268835414645068</c:v>
                </c:pt>
                <c:pt idx="72">
                  <c:v>55.30135009290764</c:v>
                </c:pt>
                <c:pt idx="73">
                  <c:v>56.351685438313197</c:v>
                </c:pt>
                <c:pt idx="74">
                  <c:v>57.420046976553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5.81343889070147</c:v>
                </c:pt>
                <c:pt idx="50">
                  <c:v>36.658648002586048</c:v>
                </c:pt>
                <c:pt idx="51">
                  <c:v>37.536745791596616</c:v>
                </c:pt>
                <c:pt idx="52">
                  <c:v>38.448879915604152</c:v>
                </c:pt>
                <c:pt idx="53">
                  <c:v>39.396244470884632</c:v>
                </c:pt>
                <c:pt idx="54">
                  <c:v>40.380079832036678</c:v>
                </c:pt>
                <c:pt idx="55">
                  <c:v>41.4016568639965</c:v>
                </c:pt>
                <c:pt idx="56">
                  <c:v>42.462276884548608</c:v>
                </c:pt>
                <c:pt idx="57">
                  <c:v>43.563273281605035</c:v>
                </c:pt>
                <c:pt idx="58">
                  <c:v>44.706013864576846</c:v>
                </c:pt>
                <c:pt idx="59">
                  <c:v>45.891902114245624</c:v>
                </c:pt>
                <c:pt idx="60">
                  <c:v>47.122379013144176</c:v>
                </c:pt>
                <c:pt idx="61">
                  <c:v>48.398922258017024</c:v>
                </c:pt>
                <c:pt idx="62">
                  <c:v>49.723043127691653</c:v>
                </c:pt>
                <c:pt idx="63">
                  <c:v>51.096286102931536</c:v>
                </c:pt>
                <c:pt idx="64">
                  <c:v>52.520228844100842</c:v>
                </c:pt>
                <c:pt idx="65">
                  <c:v>53.996482374326035</c:v>
                </c:pt>
                <c:pt idx="66">
                  <c:v>55.526690619806445</c:v>
                </c:pt>
                <c:pt idx="67">
                  <c:v>57.112529825348723</c:v>
                </c:pt>
                <c:pt idx="68">
                  <c:v>58.755707828211435</c:v>
                </c:pt>
                <c:pt idx="69">
                  <c:v>60.457992052980579</c:v>
                </c:pt>
                <c:pt idx="70">
                  <c:v>62.221203103608971</c:v>
                </c:pt>
                <c:pt idx="71">
                  <c:v>64.04721005564447</c:v>
                </c:pt>
                <c:pt idx="72">
                  <c:v>65.937928350508983</c:v>
                </c:pt>
                <c:pt idx="73">
                  <c:v>67.895318856220825</c:v>
                </c:pt>
                <c:pt idx="74">
                  <c:v>69.921387809191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6.944019400664828</c:v>
                </c:pt>
                <c:pt idx="50">
                  <c:v>39.032426434744956</c:v>
                </c:pt>
                <c:pt idx="51">
                  <c:v>41.307685595878866</c:v>
                </c:pt>
                <c:pt idx="52">
                  <c:v>43.789855064282506</c:v>
                </c:pt>
                <c:pt idx="53">
                  <c:v>46.50469139246988</c:v>
                </c:pt>
                <c:pt idx="54">
                  <c:v>49.474796094624153</c:v>
                </c:pt>
                <c:pt idx="55">
                  <c:v>52.720442136110044</c:v>
                </c:pt>
                <c:pt idx="56">
                  <c:v>56.251323541486755</c:v>
                </c:pt>
                <c:pt idx="57">
                  <c:v>60.086294480360849</c:v>
                </c:pt>
                <c:pt idx="58">
                  <c:v>64.256967590538252</c:v>
                </c:pt>
                <c:pt idx="59">
                  <c:v>68.780628310412709</c:v>
                </c:pt>
                <c:pt idx="60">
                  <c:v>73.682940710823772</c:v>
                </c:pt>
                <c:pt idx="61">
                  <c:v>78.997081746742154</c:v>
                </c:pt>
                <c:pt idx="62">
                  <c:v>84.650546471571644</c:v>
                </c:pt>
                <c:pt idx="63">
                  <c:v>90.595926224034656</c:v>
                </c:pt>
                <c:pt idx="64">
                  <c:v>96.801038881828617</c:v>
                </c:pt>
                <c:pt idx="65">
                  <c:v>103.24633505944958</c:v>
                </c:pt>
                <c:pt idx="66">
                  <c:v>109.92464279189176</c:v>
                </c:pt>
                <c:pt idx="67">
                  <c:v>116.82006084836662</c:v>
                </c:pt>
                <c:pt idx="68">
                  <c:v>123.9196739686671</c:v>
                </c:pt>
                <c:pt idx="69">
                  <c:v>131.21629242794469</c:v>
                </c:pt>
                <c:pt idx="70">
                  <c:v>138.69761187217188</c:v>
                </c:pt>
                <c:pt idx="71">
                  <c:v>146.35168826864651</c:v>
                </c:pt>
                <c:pt idx="72">
                  <c:v>154.17159726534976</c:v>
                </c:pt>
                <c:pt idx="73">
                  <c:v>162.15190748137991</c:v>
                </c:pt>
                <c:pt idx="74">
                  <c:v>170.28538750536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7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5</c:v>
                </c:pt>
                <c:pt idx="13">
                  <c:v>16</c:v>
                </c:pt>
                <c:pt idx="14">
                  <c:v>16</c:v>
                </c:pt>
                <c:pt idx="15">
                  <c:v>18</c:v>
                </c:pt>
                <c:pt idx="16">
                  <c:v>18</c:v>
                </c:pt>
                <c:pt idx="17">
                  <c:v>18</c:v>
                </c:pt>
                <c:pt idx="18">
                  <c:v>18</c:v>
                </c:pt>
                <c:pt idx="19">
                  <c:v>22</c:v>
                </c:pt>
                <c:pt idx="20">
                  <c:v>22</c:v>
                </c:pt>
                <c:pt idx="21">
                  <c:v>24</c:v>
                </c:pt>
                <c:pt idx="22">
                  <c:v>26</c:v>
                </c:pt>
                <c:pt idx="23">
                  <c:v>27</c:v>
                </c:pt>
                <c:pt idx="24">
                  <c:v>27</c:v>
                </c:pt>
                <c:pt idx="25">
                  <c:v>27</c:v>
                </c:pt>
                <c:pt idx="26">
                  <c:v>28</c:v>
                </c:pt>
                <c:pt idx="27">
                  <c:v>28</c:v>
                </c:pt>
                <c:pt idx="28">
                  <c:v>29</c:v>
                </c:pt>
                <c:pt idx="29">
                  <c:v>33</c:v>
                </c:pt>
                <c:pt idx="30">
                  <c:v>34</c:v>
                </c:pt>
                <c:pt idx="31">
                  <c:v>34</c:v>
                </c:pt>
                <c:pt idx="32">
                  <c:v>34</c:v>
                </c:pt>
                <c:pt idx="33">
                  <c:v>43</c:v>
                </c:pt>
                <c:pt idx="34">
                  <c:v>43</c:v>
                </c:pt>
                <c:pt idx="35">
                  <c:v>47</c:v>
                </c:pt>
                <c:pt idx="36">
                  <c:v>47</c:v>
                </c:pt>
                <c:pt idx="37">
                  <c:v>47</c:v>
                </c:pt>
                <c:pt idx="38">
                  <c:v>47</c:v>
                </c:pt>
                <c:pt idx="39">
                  <c:v>47</c:v>
                </c:pt>
                <c:pt idx="40">
                  <c:v>55</c:v>
                </c:pt>
                <c:pt idx="41">
                  <c:v>58</c:v>
                </c:pt>
                <c:pt idx="42">
                  <c:v>59</c:v>
                </c:pt>
                <c:pt idx="43">
                  <c:v>64</c:v>
                </c:pt>
                <c:pt idx="44">
                  <c:v>68</c:v>
                </c:pt>
                <c:pt idx="45">
                  <c:v>68</c:v>
                </c:pt>
                <c:pt idx="46">
                  <c:v>68</c:v>
                </c:pt>
                <c:pt idx="47">
                  <c:v>70</c:v>
                </c:pt>
                <c:pt idx="48">
                  <c:v>71</c:v>
                </c:pt>
                <c:pt idx="49">
                  <c:v>78</c:v>
                </c:pt>
                <c:pt idx="50">
                  <c:v>88</c:v>
                </c:pt>
                <c:pt idx="51">
                  <c:v>100</c:v>
                </c:pt>
                <c:pt idx="52">
                  <c:v>102</c:v>
                </c:pt>
                <c:pt idx="53">
                  <c:v>108</c:v>
                </c:pt>
                <c:pt idx="54">
                  <c:v>119</c:v>
                </c:pt>
                <c:pt idx="55">
                  <c:v>133</c:v>
                </c:pt>
                <c:pt idx="56">
                  <c:v>142</c:v>
                </c:pt>
                <c:pt idx="57">
                  <c:v>148</c:v>
                </c:pt>
                <c:pt idx="58">
                  <c:v>161</c:v>
                </c:pt>
                <c:pt idx="59">
                  <c:v>171</c:v>
                </c:pt>
                <c:pt idx="60">
                  <c:v>187</c:v>
                </c:pt>
                <c:pt idx="61">
                  <c:v>217</c:v>
                </c:pt>
                <c:pt idx="62">
                  <c:v>236</c:v>
                </c:pt>
                <c:pt idx="63">
                  <c:v>254</c:v>
                </c:pt>
                <c:pt idx="64">
                  <c:v>271</c:v>
                </c:pt>
                <c:pt idx="65">
                  <c:v>287</c:v>
                </c:pt>
                <c:pt idx="66">
                  <c:v>293</c:v>
                </c:pt>
                <c:pt idx="67">
                  <c:v>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2.419810546852375</c:v>
                </c:pt>
                <c:pt idx="50">
                  <c:v>73.840952789656853</c:v>
                </c:pt>
                <c:pt idx="51">
                  <c:v>75.262972665652612</c:v>
                </c:pt>
                <c:pt idx="52">
                  <c:v>76.685660627202125</c:v>
                </c:pt>
                <c:pt idx="53">
                  <c:v>78.108817741538488</c:v>
                </c:pt>
                <c:pt idx="54">
                  <c:v>79.532278285215654</c:v>
                </c:pt>
                <c:pt idx="55">
                  <c:v>80.956004370357675</c:v>
                </c:pt>
                <c:pt idx="56">
                  <c:v>82.379933844727063</c:v>
                </c:pt>
                <c:pt idx="57">
                  <c:v>83.804050693733643</c:v>
                </c:pt>
                <c:pt idx="58">
                  <c:v>85.228350366081386</c:v>
                </c:pt>
                <c:pt idx="59">
                  <c:v>86.652789429836474</c:v>
                </c:pt>
                <c:pt idx="60">
                  <c:v>88.077347957622621</c:v>
                </c:pt>
                <c:pt idx="61">
                  <c:v>89.502018004283627</c:v>
                </c:pt>
                <c:pt idx="62">
                  <c:v>90.926750435778843</c:v>
                </c:pt>
                <c:pt idx="63">
                  <c:v>92.351547560979157</c:v>
                </c:pt>
                <c:pt idx="64">
                  <c:v>93.776394119599843</c:v>
                </c:pt>
                <c:pt idx="65">
                  <c:v>95.201283190060366</c:v>
                </c:pt>
                <c:pt idx="66">
                  <c:v>96.626172260519695</c:v>
                </c:pt>
                <c:pt idx="67">
                  <c:v>98.051061330980218</c:v>
                </c:pt>
                <c:pt idx="68">
                  <c:v>99.475950401439547</c:v>
                </c:pt>
                <c:pt idx="69">
                  <c:v>100.90083947190007</c:v>
                </c:pt>
                <c:pt idx="70">
                  <c:v>102.3257285423594</c:v>
                </c:pt>
                <c:pt idx="71">
                  <c:v>103.75061761281992</c:v>
                </c:pt>
                <c:pt idx="72">
                  <c:v>105.17550668327925</c:v>
                </c:pt>
                <c:pt idx="73">
                  <c:v>106.60039575373978</c:v>
                </c:pt>
                <c:pt idx="74">
                  <c:v>108.0252848241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2.66983310671543</c:v>
                </c:pt>
                <c:pt idx="50">
                  <c:v>74.372887386100999</c:v>
                </c:pt>
                <c:pt idx="51">
                  <c:v>76.109546268683332</c:v>
                </c:pt>
                <c:pt idx="52">
                  <c:v>77.880209020964969</c:v>
                </c:pt>
                <c:pt idx="53">
                  <c:v>79.685348626791153</c:v>
                </c:pt>
                <c:pt idx="54">
                  <c:v>81.525464081058061</c:v>
                </c:pt>
                <c:pt idx="55">
                  <c:v>83.401074276398646</c:v>
                </c:pt>
                <c:pt idx="56">
                  <c:v>85.312699897497936</c:v>
                </c:pt>
                <c:pt idx="57">
                  <c:v>87.260833665700574</c:v>
                </c:pt>
                <c:pt idx="58">
                  <c:v>89.24597515495789</c:v>
                </c:pt>
                <c:pt idx="59">
                  <c:v>91.26862515242982</c:v>
                </c:pt>
                <c:pt idx="60">
                  <c:v>93.329259390300464</c:v>
                </c:pt>
                <c:pt idx="61">
                  <c:v>95.42836252618001</c:v>
                </c:pt>
                <c:pt idx="62">
                  <c:v>97.566416668146118</c:v>
                </c:pt>
                <c:pt idx="63">
                  <c:v>99.743897566049412</c:v>
                </c:pt>
                <c:pt idx="64">
                  <c:v>101.96125560887469</c:v>
                </c:pt>
                <c:pt idx="65">
                  <c:v>104.2189414536513</c:v>
                </c:pt>
                <c:pt idx="66">
                  <c:v>106.51740109311294</c:v>
                </c:pt>
                <c:pt idx="67">
                  <c:v>108.85707333628542</c:v>
                </c:pt>
                <c:pt idx="68">
                  <c:v>111.2383884062324</c:v>
                </c:pt>
                <c:pt idx="69">
                  <c:v>113.66180323634738</c:v>
                </c:pt>
                <c:pt idx="70">
                  <c:v>116.12779272794148</c:v>
                </c:pt>
                <c:pt idx="71">
                  <c:v>118.63684310842808</c:v>
                </c:pt>
                <c:pt idx="72">
                  <c:v>121.18944884079943</c:v>
                </c:pt>
                <c:pt idx="73">
                  <c:v>123.7861112224965</c:v>
                </c:pt>
                <c:pt idx="74">
                  <c:v>126.42733835870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3.011001702011967</c:v>
                </c:pt>
                <c:pt idx="50">
                  <c:v>75.10054645083774</c:v>
                </c:pt>
                <c:pt idx="51">
                  <c:v>77.271399318113865</c:v>
                </c:pt>
                <c:pt idx="52">
                  <c:v>79.526397569132499</c:v>
                </c:pt>
                <c:pt idx="53">
                  <c:v>81.868493275242571</c:v>
                </c:pt>
                <c:pt idx="54">
                  <c:v>84.300752918090694</c:v>
                </c:pt>
                <c:pt idx="55">
                  <c:v>86.826318358213598</c:v>
                </c:pt>
                <c:pt idx="56">
                  <c:v>89.448406742356312</c:v>
                </c:pt>
                <c:pt idx="57">
                  <c:v>92.170314501745821</c:v>
                </c:pt>
                <c:pt idx="58">
                  <c:v>94.995423165203903</c:v>
                </c:pt>
                <c:pt idx="59">
                  <c:v>97.92720244910727</c:v>
                </c:pt>
                <c:pt idx="60">
                  <c:v>100.96921478249536</c:v>
                </c:pt>
                <c:pt idx="61">
                  <c:v>104.12511336009767</c:v>
                </c:pt>
                <c:pt idx="62">
                  <c:v>107.39863439901549</c:v>
                </c:pt>
                <c:pt idx="63">
                  <c:v>110.79359619891409</c:v>
                </c:pt>
                <c:pt idx="64">
                  <c:v>114.31389908680487</c:v>
                </c:pt>
                <c:pt idx="65">
                  <c:v>117.96352586986158</c:v>
                </c:pt>
                <c:pt idx="66">
                  <c:v>121.74654069896593</c:v>
                </c:pt>
                <c:pt idx="67">
                  <c:v>125.66708762377878</c:v>
                </c:pt>
                <c:pt idx="68">
                  <c:v>129.72938879752272</c:v>
                </c:pt>
                <c:pt idx="69">
                  <c:v>133.93781368653532</c:v>
                </c:pt>
                <c:pt idx="70">
                  <c:v>138.29686322836662</c:v>
                </c:pt>
                <c:pt idx="71">
                  <c:v>142.81115819312103</c:v>
                </c:pt>
                <c:pt idx="72">
                  <c:v>147.48543397764718</c:v>
                </c:pt>
                <c:pt idx="73">
                  <c:v>152.32453828343478</c:v>
                </c:pt>
                <c:pt idx="74">
                  <c:v>157.333430972722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5.8699632465094</c:v>
                </c:pt>
                <c:pt idx="50">
                  <c:v>81.108161932235888</c:v>
                </c:pt>
                <c:pt idx="51">
                  <c:v>86.814189536823932</c:v>
                </c:pt>
                <c:pt idx="52">
                  <c:v>93.041318460638109</c:v>
                </c:pt>
                <c:pt idx="53">
                  <c:v>99.855121131332893</c:v>
                </c:pt>
                <c:pt idx="54">
                  <c:v>107.31141274867169</c:v>
                </c:pt>
                <c:pt idx="55">
                  <c:v>115.46076383031529</c:v>
                </c:pt>
                <c:pt idx="56">
                  <c:v>124.32905492770382</c:v>
                </c:pt>
                <c:pt idx="57">
                  <c:v>133.96324012920863</c:v>
                </c:pt>
                <c:pt idx="58">
                  <c:v>144.44017655481377</c:v>
                </c:pt>
                <c:pt idx="59">
                  <c:v>155.80326141551183</c:v>
                </c:pt>
                <c:pt idx="60">
                  <c:v>168.11798411438366</c:v>
                </c:pt>
                <c:pt idx="61">
                  <c:v>181.46687079092689</c:v>
                </c:pt>
                <c:pt idx="62">
                  <c:v>195.6684458751381</c:v>
                </c:pt>
                <c:pt idx="63">
                  <c:v>210.60444828232662</c:v>
                </c:pt>
                <c:pt idx="64">
                  <c:v>226.1935837782633</c:v>
                </c:pt>
                <c:pt idx="65">
                  <c:v>242.38638675070374</c:v>
                </c:pt>
                <c:pt idx="66">
                  <c:v>259.16449458369391</c:v>
                </c:pt>
                <c:pt idx="67">
                  <c:v>276.48814784513826</c:v>
                </c:pt>
                <c:pt idx="68">
                  <c:v>294.32466749016208</c:v>
                </c:pt>
                <c:pt idx="69">
                  <c:v>312.65485246781458</c:v>
                </c:pt>
                <c:pt idx="70">
                  <c:v>331.44762053734257</c:v>
                </c:pt>
                <c:pt idx="71">
                  <c:v>350.67267408939961</c:v>
                </c:pt>
                <c:pt idx="72">
                  <c:v>370.31206636524064</c:v>
                </c:pt>
                <c:pt idx="73">
                  <c:v>390.35232067194659</c:v>
                </c:pt>
                <c:pt idx="74">
                  <c:v>410.77503906654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6</c:v>
                </c:pt>
                <c:pt idx="8">
                  <c:v>6</c:v>
                </c:pt>
                <c:pt idx="9">
                  <c:v>8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3</c:v>
                </c:pt>
                <c:pt idx="26">
                  <c:v>14</c:v>
                </c:pt>
                <c:pt idx="27">
                  <c:v>14</c:v>
                </c:pt>
                <c:pt idx="28">
                  <c:v>14</c:v>
                </c:pt>
                <c:pt idx="29">
                  <c:v>14</c:v>
                </c:pt>
                <c:pt idx="30">
                  <c:v>14</c:v>
                </c:pt>
                <c:pt idx="31">
                  <c:v>14</c:v>
                </c:pt>
                <c:pt idx="32">
                  <c:v>16</c:v>
                </c:pt>
                <c:pt idx="33">
                  <c:v>17</c:v>
                </c:pt>
                <c:pt idx="34">
                  <c:v>18</c:v>
                </c:pt>
                <c:pt idx="35">
                  <c:v>20</c:v>
                </c:pt>
                <c:pt idx="36">
                  <c:v>20</c:v>
                </c:pt>
                <c:pt idx="37">
                  <c:v>20</c:v>
                </c:pt>
                <c:pt idx="38">
                  <c:v>21</c:v>
                </c:pt>
                <c:pt idx="39">
                  <c:v>21</c:v>
                </c:pt>
                <c:pt idx="40">
                  <c:v>22</c:v>
                </c:pt>
                <c:pt idx="41">
                  <c:v>22</c:v>
                </c:pt>
                <c:pt idx="42">
                  <c:v>24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36</c:v>
                </c:pt>
                <c:pt idx="48">
                  <c:v>39</c:v>
                </c:pt>
                <c:pt idx="49">
                  <c:v>42</c:v>
                </c:pt>
                <c:pt idx="50">
                  <c:v>43</c:v>
                </c:pt>
                <c:pt idx="51">
                  <c:v>45</c:v>
                </c:pt>
                <c:pt idx="52">
                  <c:v>49</c:v>
                </c:pt>
                <c:pt idx="53">
                  <c:v>52</c:v>
                </c:pt>
                <c:pt idx="54">
                  <c:v>53</c:v>
                </c:pt>
                <c:pt idx="55">
                  <c:v>56</c:v>
                </c:pt>
                <c:pt idx="56">
                  <c:v>60</c:v>
                </c:pt>
                <c:pt idx="57">
                  <c:v>61</c:v>
                </c:pt>
                <c:pt idx="58">
                  <c:v>63</c:v>
                </c:pt>
                <c:pt idx="59">
                  <c:v>66</c:v>
                </c:pt>
                <c:pt idx="60">
                  <c:v>68</c:v>
                </c:pt>
                <c:pt idx="61">
                  <c:v>69</c:v>
                </c:pt>
                <c:pt idx="62">
                  <c:v>77</c:v>
                </c:pt>
                <c:pt idx="63">
                  <c:v>83</c:v>
                </c:pt>
                <c:pt idx="64">
                  <c:v>93</c:v>
                </c:pt>
                <c:pt idx="65">
                  <c:v>97</c:v>
                </c:pt>
                <c:pt idx="66">
                  <c:v>103</c:v>
                </c:pt>
                <c:pt idx="67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9.91729333083159</c:v>
                </c:pt>
                <c:pt idx="50">
                  <c:v>40.835447027025495</c:v>
                </c:pt>
                <c:pt idx="51">
                  <c:v>41.754167733427252</c:v>
                </c:pt>
                <c:pt idx="52">
                  <c:v>42.673320068136206</c:v>
                </c:pt>
                <c:pt idx="53">
                  <c:v>43.592775507173741</c:v>
                </c:pt>
                <c:pt idx="54">
                  <c:v>44.512426982021346</c:v>
                </c:pt>
                <c:pt idx="55">
                  <c:v>45.432250014556921</c:v>
                </c:pt>
                <c:pt idx="56">
                  <c:v>46.352204450245004</c:v>
                </c:pt>
                <c:pt idx="57">
                  <c:v>47.272279942580717</c:v>
                </c:pt>
                <c:pt idx="58">
                  <c:v>48.192473551119996</c:v>
                </c:pt>
                <c:pt idx="59">
                  <c:v>49.112757215905582</c:v>
                </c:pt>
                <c:pt idx="60">
                  <c:v>50.03311806250899</c:v>
                </c:pt>
                <c:pt idx="61">
                  <c:v>50.953550957823687</c:v>
                </c:pt>
                <c:pt idx="62">
                  <c:v>51.874024157946998</c:v>
                </c:pt>
                <c:pt idx="63">
                  <c:v>52.794539154565179</c:v>
                </c:pt>
                <c:pt idx="64">
                  <c:v>53.715086088505515</c:v>
                </c:pt>
                <c:pt idx="65">
                  <c:v>54.635660487960351</c:v>
                </c:pt>
                <c:pt idx="66">
                  <c:v>55.556234887414412</c:v>
                </c:pt>
                <c:pt idx="67">
                  <c:v>56.476809286869248</c:v>
                </c:pt>
                <c:pt idx="68">
                  <c:v>57.397383686323309</c:v>
                </c:pt>
                <c:pt idx="69">
                  <c:v>58.317958085778145</c:v>
                </c:pt>
                <c:pt idx="70">
                  <c:v>59.238532485232206</c:v>
                </c:pt>
                <c:pt idx="71">
                  <c:v>60.159106884687041</c:v>
                </c:pt>
                <c:pt idx="72">
                  <c:v>61.079681284141103</c:v>
                </c:pt>
                <c:pt idx="73">
                  <c:v>62.000255683595938</c:v>
                </c:pt>
                <c:pt idx="74">
                  <c:v>62.92083008304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0.078824759956596</c:v>
                </c:pt>
                <c:pt idx="50">
                  <c:v>41.179112637087727</c:v>
                </c:pt>
                <c:pt idx="51">
                  <c:v>42.301111353362828</c:v>
                </c:pt>
                <c:pt idx="52">
                  <c:v>43.445078861859393</c:v>
                </c:pt>
                <c:pt idx="53">
                  <c:v>44.611320742027999</c:v>
                </c:pt>
                <c:pt idx="54">
                  <c:v>45.800159378211674</c:v>
                </c:pt>
                <c:pt idx="55">
                  <c:v>47.011930010032835</c:v>
                </c:pt>
                <c:pt idx="56">
                  <c:v>48.246969034900353</c:v>
                </c:pt>
                <c:pt idx="57">
                  <c:v>49.505594784020033</c:v>
                </c:pt>
                <c:pt idx="58">
                  <c:v>50.788130015843585</c:v>
                </c:pt>
                <c:pt idx="59">
                  <c:v>52.094898272637245</c:v>
                </c:pt>
                <c:pt idx="60">
                  <c:v>53.426206909463787</c:v>
                </c:pt>
                <c:pt idx="61">
                  <c:v>54.782369047812935</c:v>
                </c:pt>
                <c:pt idx="62">
                  <c:v>56.163696162004527</c:v>
                </c:pt>
                <c:pt idx="63">
                  <c:v>57.570495618515075</c:v>
                </c:pt>
                <c:pt idx="64">
                  <c:v>59.003058398992088</c:v>
                </c:pt>
                <c:pt idx="65">
                  <c:v>60.461675658257874</c:v>
                </c:pt>
                <c:pt idx="66">
                  <c:v>61.946635537685331</c:v>
                </c:pt>
                <c:pt idx="67">
                  <c:v>63.45822153748778</c:v>
                </c:pt>
                <c:pt idx="68">
                  <c:v>64.996711610768131</c:v>
                </c:pt>
                <c:pt idx="69">
                  <c:v>66.562400967303091</c:v>
                </c:pt>
                <c:pt idx="70">
                  <c:v>68.155596425355469</c:v>
                </c:pt>
                <c:pt idx="71">
                  <c:v>69.776612120613663</c:v>
                </c:pt>
                <c:pt idx="72">
                  <c:v>71.425767509505263</c:v>
                </c:pt>
                <c:pt idx="73">
                  <c:v>73.10338646397247</c:v>
                </c:pt>
                <c:pt idx="74">
                  <c:v>74.8097972542181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0.299242672648184</c:v>
                </c:pt>
                <c:pt idx="50">
                  <c:v>41.64922944857495</c:v>
                </c:pt>
                <c:pt idx="51">
                  <c:v>43.051746750466833</c:v>
                </c:pt>
                <c:pt idx="52">
                  <c:v>44.508627642978873</c:v>
                </c:pt>
                <c:pt idx="53">
                  <c:v>46.021779363218528</c:v>
                </c:pt>
                <c:pt idx="54">
                  <c:v>47.593183065058604</c:v>
                </c:pt>
                <c:pt idx="55">
                  <c:v>49.224868602216652</c:v>
                </c:pt>
                <c:pt idx="56">
                  <c:v>50.918914468376272</c:v>
                </c:pt>
                <c:pt idx="57">
                  <c:v>52.677450380341398</c:v>
                </c:pt>
                <c:pt idx="58">
                  <c:v>54.502661033699148</c:v>
                </c:pt>
                <c:pt idx="59">
                  <c:v>56.396788099142334</c:v>
                </c:pt>
                <c:pt idx="60">
                  <c:v>58.362133145994186</c:v>
                </c:pt>
                <c:pt idx="61">
                  <c:v>60.401056384332755</c:v>
                </c:pt>
                <c:pt idx="62">
                  <c:v>62.515971662285281</c:v>
                </c:pt>
                <c:pt idx="63">
                  <c:v>64.709345858848977</c:v>
                </c:pt>
                <c:pt idx="64">
                  <c:v>66.983698848216619</c:v>
                </c:pt>
                <c:pt idx="65">
                  <c:v>69.341603792326296</c:v>
                </c:pt>
                <c:pt idx="66">
                  <c:v>71.785686406635278</c:v>
                </c:pt>
                <c:pt idx="67">
                  <c:v>74.318624026598641</c:v>
                </c:pt>
                <c:pt idx="68">
                  <c:v>76.943144447837696</c:v>
                </c:pt>
                <c:pt idx="69">
                  <c:v>79.662070640177305</c:v>
                </c:pt>
                <c:pt idx="70">
                  <c:v>82.478310512708759</c:v>
                </c:pt>
                <c:pt idx="71">
                  <c:v>85.394849394432114</c:v>
                </c:pt>
                <c:pt idx="72">
                  <c:v>88.414746670951828</c:v>
                </c:pt>
                <c:pt idx="73">
                  <c:v>91.541134284241565</c:v>
                </c:pt>
                <c:pt idx="74">
                  <c:v>94.777216639680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42.07307334529564</c:v>
                </c:pt>
                <c:pt idx="50">
                  <c:v>45.371127265659432</c:v>
                </c:pt>
                <c:pt idx="51">
                  <c:v>48.964681086578153</c:v>
                </c:pt>
                <c:pt idx="52">
                  <c:v>52.883930118481381</c:v>
                </c:pt>
                <c:pt idx="53">
                  <c:v>57.169065046331554</c:v>
                </c:pt>
                <c:pt idx="54">
                  <c:v>61.856215893765921</c:v>
                </c:pt>
                <c:pt idx="55">
                  <c:v>66.977537470487476</c:v>
                </c:pt>
                <c:pt idx="56">
                  <c:v>72.54755590369389</c:v>
                </c:pt>
                <c:pt idx="57">
                  <c:v>78.596214296418083</c:v>
                </c:pt>
                <c:pt idx="58">
                  <c:v>85.174653229118164</c:v>
                </c:pt>
                <c:pt idx="59">
                  <c:v>92.310149505080119</c:v>
                </c:pt>
                <c:pt idx="60">
                  <c:v>100.0426732901422</c:v>
                </c:pt>
                <c:pt idx="61">
                  <c:v>108.42496288697266</c:v>
                </c:pt>
                <c:pt idx="62">
                  <c:v>117.34232539855063</c:v>
                </c:pt>
                <c:pt idx="63">
                  <c:v>126.71956682693492</c:v>
                </c:pt>
                <c:pt idx="64">
                  <c:v>136.50615160938281</c:v>
                </c:pt>
                <c:pt idx="65">
                  <c:v>146.67142262642193</c:v>
                </c:pt>
                <c:pt idx="66">
                  <c:v>157.20424061851304</c:v>
                </c:pt>
                <c:pt idx="67">
                  <c:v>168.07943181446964</c:v>
                </c:pt>
                <c:pt idx="68">
                  <c:v>179.27674249947574</c:v>
                </c:pt>
                <c:pt idx="69">
                  <c:v>190.785402311936</c:v>
                </c:pt>
                <c:pt idx="70">
                  <c:v>202.58609003581566</c:v>
                </c:pt>
                <c:pt idx="71">
                  <c:v>214.66011304979858</c:v>
                </c:pt>
                <c:pt idx="72">
                  <c:v>226.99682573587069</c:v>
                </c:pt>
                <c:pt idx="73">
                  <c:v>239.5875775279365</c:v>
                </c:pt>
                <c:pt idx="74">
                  <c:v>252.42107839858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7</c:v>
                </c:pt>
                <c:pt idx="24">
                  <c:v>7</c:v>
                </c:pt>
                <c:pt idx="25">
                  <c:v>8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1</c:v>
                </c:pt>
                <c:pt idx="32">
                  <c:v>11</c:v>
                </c:pt>
                <c:pt idx="33">
                  <c:v>11</c:v>
                </c:pt>
                <c:pt idx="34">
                  <c:v>11</c:v>
                </c:pt>
                <c:pt idx="35">
                  <c:v>12</c:v>
                </c:pt>
                <c:pt idx="36">
                  <c:v>13</c:v>
                </c:pt>
                <c:pt idx="37">
                  <c:v>14</c:v>
                </c:pt>
                <c:pt idx="38">
                  <c:v>16</c:v>
                </c:pt>
                <c:pt idx="39">
                  <c:v>16</c:v>
                </c:pt>
                <c:pt idx="40">
                  <c:v>17</c:v>
                </c:pt>
                <c:pt idx="41">
                  <c:v>17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3</c:v>
                </c:pt>
                <c:pt idx="46">
                  <c:v>24</c:v>
                </c:pt>
                <c:pt idx="47">
                  <c:v>26</c:v>
                </c:pt>
                <c:pt idx="48">
                  <c:v>29</c:v>
                </c:pt>
                <c:pt idx="49">
                  <c:v>30</c:v>
                </c:pt>
                <c:pt idx="50">
                  <c:v>30</c:v>
                </c:pt>
                <c:pt idx="51">
                  <c:v>34</c:v>
                </c:pt>
                <c:pt idx="52">
                  <c:v>36</c:v>
                </c:pt>
                <c:pt idx="53">
                  <c:v>37</c:v>
                </c:pt>
                <c:pt idx="54">
                  <c:v>39</c:v>
                </c:pt>
                <c:pt idx="55">
                  <c:v>43</c:v>
                </c:pt>
                <c:pt idx="56">
                  <c:v>45</c:v>
                </c:pt>
                <c:pt idx="57">
                  <c:v>49</c:v>
                </c:pt>
                <c:pt idx="58">
                  <c:v>53</c:v>
                </c:pt>
                <c:pt idx="59">
                  <c:v>59</c:v>
                </c:pt>
                <c:pt idx="60">
                  <c:v>61</c:v>
                </c:pt>
                <c:pt idx="61">
                  <c:v>75</c:v>
                </c:pt>
                <c:pt idx="62">
                  <c:v>83</c:v>
                </c:pt>
                <c:pt idx="63">
                  <c:v>92</c:v>
                </c:pt>
                <c:pt idx="64">
                  <c:v>101</c:v>
                </c:pt>
                <c:pt idx="65">
                  <c:v>107</c:v>
                </c:pt>
                <c:pt idx="66">
                  <c:v>111</c:v>
                </c:pt>
                <c:pt idx="67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.430729042303529</c:v>
                </c:pt>
                <c:pt idx="50">
                  <c:v>29.861862082255449</c:v>
                </c:pt>
                <c:pt idx="51">
                  <c:v>30.293261370478884</c:v>
                </c:pt>
                <c:pt idx="52">
                  <c:v>30.724863336342221</c:v>
                </c:pt>
                <c:pt idx="53">
                  <c:v>31.156607629455497</c:v>
                </c:pt>
                <c:pt idx="54">
                  <c:v>31.588443974166545</c:v>
                </c:pt>
                <c:pt idx="55">
                  <c:v>32.020360876400645</c:v>
                </c:pt>
                <c:pt idx="56">
                  <c:v>32.452339480984612</c:v>
                </c:pt>
                <c:pt idx="57">
                  <c:v>32.884374929559641</c:v>
                </c:pt>
                <c:pt idx="58">
                  <c:v>33.316465841395477</c:v>
                </c:pt>
                <c:pt idx="59">
                  <c:v>33.74859904051219</c:v>
                </c:pt>
                <c:pt idx="60">
                  <c:v>34.180768481525966</c:v>
                </c:pt>
                <c:pt idx="61">
                  <c:v>34.612971754108521</c:v>
                </c:pt>
                <c:pt idx="62">
                  <c:v>35.04519395242729</c:v>
                </c:pt>
                <c:pt idx="63">
                  <c:v>35.477435776926264</c:v>
                </c:pt>
                <c:pt idx="64">
                  <c:v>35.909692598080852</c:v>
                </c:pt>
                <c:pt idx="65">
                  <c:v>36.341962316085734</c:v>
                </c:pt>
                <c:pt idx="66">
                  <c:v>36.774232034090254</c:v>
                </c:pt>
                <c:pt idx="67">
                  <c:v>37.206501752095136</c:v>
                </c:pt>
                <c:pt idx="68">
                  <c:v>37.638771470099655</c:v>
                </c:pt>
                <c:pt idx="69">
                  <c:v>38.071041188104537</c:v>
                </c:pt>
                <c:pt idx="70">
                  <c:v>38.503310906109057</c:v>
                </c:pt>
                <c:pt idx="71">
                  <c:v>38.935580624113939</c:v>
                </c:pt>
                <c:pt idx="72">
                  <c:v>39.367850342118459</c:v>
                </c:pt>
                <c:pt idx="73">
                  <c:v>39.800120060123341</c:v>
                </c:pt>
                <c:pt idx="74">
                  <c:v>40.232389778127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9.506578582936143</c:v>
                </c:pt>
                <c:pt idx="50">
                  <c:v>30.023235499154239</c:v>
                </c:pt>
                <c:pt idx="51">
                  <c:v>30.550087070274721</c:v>
                </c:pt>
                <c:pt idx="52">
                  <c:v>31.087254422090499</c:v>
                </c:pt>
                <c:pt idx="53">
                  <c:v>31.634881044082714</c:v>
                </c:pt>
                <c:pt idx="54">
                  <c:v>32.193118316725482</c:v>
                </c:pt>
                <c:pt idx="55">
                  <c:v>32.762123656884981</c:v>
                </c:pt>
                <c:pt idx="56">
                  <c:v>33.342055025083638</c:v>
                </c:pt>
                <c:pt idx="57">
                  <c:v>33.933061898583311</c:v>
                </c:pt>
                <c:pt idx="58">
                  <c:v>34.535295833526547</c:v>
                </c:pt>
                <c:pt idx="59">
                  <c:v>35.148908754107921</c:v>
                </c:pt>
                <c:pt idx="60">
                  <c:v>35.774044983574299</c:v>
                </c:pt>
                <c:pt idx="61">
                  <c:v>36.410851552886072</c:v>
                </c:pt>
                <c:pt idx="62">
                  <c:v>37.059474719549947</c:v>
                </c:pt>
                <c:pt idx="63">
                  <c:v>37.72005881217229</c:v>
                </c:pt>
                <c:pt idx="64">
                  <c:v>38.39274046561367</c:v>
                </c:pt>
                <c:pt idx="65">
                  <c:v>39.077656396051516</c:v>
                </c:pt>
                <c:pt idx="66">
                  <c:v>39.774941904652238</c:v>
                </c:pt>
                <c:pt idx="67">
                  <c:v>40.484730113255125</c:v>
                </c:pt>
                <c:pt idx="68">
                  <c:v>41.207151538969377</c:v>
                </c:pt>
                <c:pt idx="69">
                  <c:v>41.942344802037965</c:v>
                </c:pt>
                <c:pt idx="70">
                  <c:v>42.69045397364517</c:v>
                </c:pt>
                <c:pt idx="71">
                  <c:v>43.451626560983804</c:v>
                </c:pt>
                <c:pt idx="72">
                  <c:v>44.226012569680734</c:v>
                </c:pt>
                <c:pt idx="73">
                  <c:v>45.013764078734901</c:v>
                </c:pt>
                <c:pt idx="74">
                  <c:v>45.815035232415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9.610079168026104</c:v>
                </c:pt>
                <c:pt idx="50">
                  <c:v>30.24398600193954</c:v>
                </c:pt>
                <c:pt idx="51">
                  <c:v>30.902559343697465</c:v>
                </c:pt>
                <c:pt idx="52">
                  <c:v>31.586659936703118</c:v>
                </c:pt>
                <c:pt idx="53">
                  <c:v>32.297183353163476</c:v>
                </c:pt>
                <c:pt idx="54">
                  <c:v>33.03505987402751</c:v>
                </c:pt>
                <c:pt idx="55">
                  <c:v>33.801242647997377</c:v>
                </c:pt>
                <c:pt idx="56">
                  <c:v>34.596707663411458</c:v>
                </c:pt>
                <c:pt idx="57">
                  <c:v>35.422454961203776</c:v>
                </c:pt>
                <c:pt idx="58">
                  <c:v>36.279510398432635</c:v>
                </c:pt>
                <c:pt idx="59">
                  <c:v>37.168926585684218</c:v>
                </c:pt>
                <c:pt idx="60">
                  <c:v>38.09178425985813</c:v>
                </c:pt>
                <c:pt idx="61">
                  <c:v>39.049191693512761</c:v>
                </c:pt>
                <c:pt idx="62">
                  <c:v>40.042282345768733</c:v>
                </c:pt>
                <c:pt idx="63">
                  <c:v>41.072214577198643</c:v>
                </c:pt>
                <c:pt idx="64">
                  <c:v>42.140171633075624</c:v>
                </c:pt>
                <c:pt idx="65">
                  <c:v>43.247361780744519</c:v>
                </c:pt>
                <c:pt idx="66">
                  <c:v>44.395017964854823</c:v>
                </c:pt>
                <c:pt idx="67">
                  <c:v>45.584397369011526</c:v>
                </c:pt>
                <c:pt idx="68">
                  <c:v>46.816780871158556</c:v>
                </c:pt>
                <c:pt idx="69">
                  <c:v>48.093494039735418</c:v>
                </c:pt>
                <c:pt idx="70">
                  <c:v>49.415902327706711</c:v>
                </c:pt>
                <c:pt idx="71">
                  <c:v>50.785407541733328</c:v>
                </c:pt>
                <c:pt idx="72">
                  <c:v>52.203446262881712</c:v>
                </c:pt>
                <c:pt idx="73">
                  <c:v>53.671489142165591</c:v>
                </c:pt>
                <c:pt idx="74">
                  <c:v>55.19104085689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0.299139416594109</c:v>
                </c:pt>
                <c:pt idx="50">
                  <c:v>31.678537851826494</c:v>
                </c:pt>
                <c:pt idx="51">
                  <c:v>33.183437164811927</c:v>
                </c:pt>
                <c:pt idx="52">
                  <c:v>34.819723317276072</c:v>
                </c:pt>
                <c:pt idx="53">
                  <c:v>36.601999551145809</c:v>
                </c:pt>
                <c:pt idx="54">
                  <c:v>38.547368048614992</c:v>
                </c:pt>
                <c:pt idx="55">
                  <c:v>40.669911874584585</c:v>
                </c:pt>
                <c:pt idx="56">
                  <c:v>42.972141980054388</c:v>
                </c:pt>
                <c:pt idx="57">
                  <c:v>45.467347905312394</c:v>
                </c:pt>
                <c:pt idx="58">
                  <c:v>48.182461473745697</c:v>
                </c:pt>
                <c:pt idx="59">
                  <c:v>51.128796831335436</c:v>
                </c:pt>
                <c:pt idx="60">
                  <c:v>54.320525912212204</c:v>
                </c:pt>
                <c:pt idx="61">
                  <c:v>57.781275316280031</c:v>
                </c:pt>
                <c:pt idx="62">
                  <c:v>61.46220259054126</c:v>
                </c:pt>
                <c:pt idx="63">
                  <c:v>65.330376995370017</c:v>
                </c:pt>
                <c:pt idx="64">
                  <c:v>69.365969374449548</c:v>
                </c:pt>
                <c:pt idx="65">
                  <c:v>73.557139439122068</c:v>
                </c:pt>
                <c:pt idx="66">
                  <c:v>77.900078999862188</c:v>
                </c:pt>
                <c:pt idx="67">
                  <c:v>82.383975872727191</c:v>
                </c:pt>
                <c:pt idx="68">
                  <c:v>87.001007032215981</c:v>
                </c:pt>
                <c:pt idx="69">
                  <c:v>91.749325940308097</c:v>
                </c:pt>
                <c:pt idx="70">
                  <c:v>96.621352716247799</c:v>
                </c:pt>
                <c:pt idx="71">
                  <c:v>101.61004161111204</c:v>
                </c:pt>
                <c:pt idx="72">
                  <c:v>106.71225808367076</c:v>
                </c:pt>
                <c:pt idx="73">
                  <c:v>111.92405067753346</c:v>
                </c:pt>
                <c:pt idx="74">
                  <c:v>117.24128911917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8</c:v>
                </c:pt>
                <c:pt idx="13">
                  <c:v>9</c:v>
                </c:pt>
                <c:pt idx="14">
                  <c:v>14</c:v>
                </c:pt>
                <c:pt idx="15">
                  <c:v>15</c:v>
                </c:pt>
                <c:pt idx="16">
                  <c:v>17</c:v>
                </c:pt>
                <c:pt idx="17">
                  <c:v>17</c:v>
                </c:pt>
                <c:pt idx="18">
                  <c:v>17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21</c:v>
                </c:pt>
                <c:pt idx="24">
                  <c:v>21</c:v>
                </c:pt>
                <c:pt idx="25">
                  <c:v>21</c:v>
                </c:pt>
                <c:pt idx="26">
                  <c:v>21</c:v>
                </c:pt>
                <c:pt idx="27">
                  <c:v>21</c:v>
                </c:pt>
                <c:pt idx="28">
                  <c:v>21</c:v>
                </c:pt>
                <c:pt idx="29">
                  <c:v>23</c:v>
                </c:pt>
                <c:pt idx="30">
                  <c:v>23</c:v>
                </c:pt>
                <c:pt idx="31">
                  <c:v>24</c:v>
                </c:pt>
                <c:pt idx="32">
                  <c:v>25</c:v>
                </c:pt>
                <c:pt idx="33">
                  <c:v>27</c:v>
                </c:pt>
                <c:pt idx="34">
                  <c:v>29</c:v>
                </c:pt>
                <c:pt idx="35">
                  <c:v>30</c:v>
                </c:pt>
                <c:pt idx="36">
                  <c:v>31</c:v>
                </c:pt>
                <c:pt idx="37">
                  <c:v>35</c:v>
                </c:pt>
                <c:pt idx="38">
                  <c:v>36</c:v>
                </c:pt>
                <c:pt idx="39">
                  <c:v>36</c:v>
                </c:pt>
                <c:pt idx="40">
                  <c:v>37</c:v>
                </c:pt>
                <c:pt idx="41">
                  <c:v>40</c:v>
                </c:pt>
                <c:pt idx="42">
                  <c:v>42</c:v>
                </c:pt>
                <c:pt idx="43">
                  <c:v>43</c:v>
                </c:pt>
                <c:pt idx="44">
                  <c:v>48</c:v>
                </c:pt>
                <c:pt idx="45">
                  <c:v>51</c:v>
                </c:pt>
                <c:pt idx="46">
                  <c:v>52</c:v>
                </c:pt>
                <c:pt idx="47">
                  <c:v>60</c:v>
                </c:pt>
                <c:pt idx="48">
                  <c:v>65</c:v>
                </c:pt>
                <c:pt idx="49">
                  <c:v>73</c:v>
                </c:pt>
                <c:pt idx="50">
                  <c:v>83</c:v>
                </c:pt>
                <c:pt idx="51">
                  <c:v>98</c:v>
                </c:pt>
                <c:pt idx="52">
                  <c:v>100</c:v>
                </c:pt>
                <c:pt idx="53">
                  <c:v>103</c:v>
                </c:pt>
                <c:pt idx="54">
                  <c:v>136</c:v>
                </c:pt>
                <c:pt idx="55">
                  <c:v>148</c:v>
                </c:pt>
                <c:pt idx="56">
                  <c:v>158</c:v>
                </c:pt>
                <c:pt idx="57">
                  <c:v>163</c:v>
                </c:pt>
                <c:pt idx="58">
                  <c:v>177</c:v>
                </c:pt>
                <c:pt idx="59">
                  <c:v>183</c:v>
                </c:pt>
                <c:pt idx="60">
                  <c:v>189</c:v>
                </c:pt>
                <c:pt idx="61">
                  <c:v>205</c:v>
                </c:pt>
                <c:pt idx="62">
                  <c:v>217</c:v>
                </c:pt>
                <c:pt idx="63">
                  <c:v>233</c:v>
                </c:pt>
                <c:pt idx="64">
                  <c:v>249</c:v>
                </c:pt>
                <c:pt idx="65">
                  <c:v>259</c:v>
                </c:pt>
                <c:pt idx="66">
                  <c:v>268</c:v>
                </c:pt>
                <c:pt idx="67">
                  <c:v>2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6.659104459243224</c:v>
                </c:pt>
                <c:pt idx="50">
                  <c:v>68.319765057576546</c:v>
                </c:pt>
                <c:pt idx="51">
                  <c:v>69.981451204807556</c:v>
                </c:pt>
                <c:pt idx="52">
                  <c:v>71.64391803628115</c:v>
                </c:pt>
                <c:pt idx="53">
                  <c:v>73.30693309123599</c:v>
                </c:pt>
                <c:pt idx="54">
                  <c:v>74.970302715308179</c:v>
                </c:pt>
                <c:pt idx="55">
                  <c:v>76.633982635024708</c:v>
                </c:pt>
                <c:pt idx="56">
                  <c:v>78.297900223051855</c:v>
                </c:pt>
                <c:pt idx="57">
                  <c:v>79.962036765711233</c:v>
                </c:pt>
                <c:pt idx="58">
                  <c:v>81.626386944634447</c:v>
                </c:pt>
                <c:pt idx="59">
                  <c:v>83.290900007898813</c:v>
                </c:pt>
                <c:pt idx="60">
                  <c:v>84.955552669581508</c:v>
                </c:pt>
                <c:pt idx="61">
                  <c:v>86.620335645455043</c:v>
                </c:pt>
                <c:pt idx="62">
                  <c:v>88.285191520460685</c:v>
                </c:pt>
                <c:pt idx="63">
                  <c:v>89.950122992604875</c:v>
                </c:pt>
                <c:pt idx="64">
                  <c:v>91.61511222964478</c:v>
                </c:pt>
                <c:pt idx="65">
                  <c:v>93.280151143441344</c:v>
                </c:pt>
                <c:pt idx="66">
                  <c:v>94.945190057236516</c:v>
                </c:pt>
                <c:pt idx="67">
                  <c:v>96.610228971033081</c:v>
                </c:pt>
                <c:pt idx="68">
                  <c:v>98.275267884828253</c:v>
                </c:pt>
                <c:pt idx="69">
                  <c:v>99.940306798624817</c:v>
                </c:pt>
                <c:pt idx="70">
                  <c:v>101.60534571241999</c:v>
                </c:pt>
                <c:pt idx="71">
                  <c:v>103.27038462621655</c:v>
                </c:pt>
                <c:pt idx="72">
                  <c:v>104.93542354001173</c:v>
                </c:pt>
                <c:pt idx="73">
                  <c:v>106.60046245380829</c:v>
                </c:pt>
                <c:pt idx="74">
                  <c:v>108.26550136760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6.951265652791065</c:v>
                </c:pt>
                <c:pt idx="50">
                  <c:v>68.941351552297803</c:v>
                </c:pt>
                <c:pt idx="51">
                  <c:v>70.970705752169295</c:v>
                </c:pt>
                <c:pt idx="52">
                  <c:v>73.039794811015256</c:v>
                </c:pt>
                <c:pt idx="53">
                  <c:v>75.149171429059351</c:v>
                </c:pt>
                <c:pt idx="54">
                  <c:v>77.299418701461136</c:v>
                </c:pt>
                <c:pt idx="55">
                  <c:v>79.491142974668108</c:v>
                </c:pt>
                <c:pt idx="56">
                  <c:v>81.724952689211094</c:v>
                </c:pt>
                <c:pt idx="57">
                  <c:v>84.001423609357985</c:v>
                </c:pt>
                <c:pt idx="58">
                  <c:v>86.321139506917106</c:v>
                </c:pt>
                <c:pt idx="59">
                  <c:v>88.684685571378679</c:v>
                </c:pt>
                <c:pt idx="60">
                  <c:v>91.092617714508421</c:v>
                </c:pt>
                <c:pt idx="61">
                  <c:v>93.545502277783399</c:v>
                </c:pt>
                <c:pt idx="62">
                  <c:v>96.043902623451658</c:v>
                </c:pt>
                <c:pt idx="63">
                  <c:v>98.588374683922922</c:v>
                </c:pt>
                <c:pt idx="64">
                  <c:v>101.17944475643786</c:v>
                </c:pt>
                <c:pt idx="65">
                  <c:v>103.81763945145771</c:v>
                </c:pt>
                <c:pt idx="66">
                  <c:v>106.50347992903085</c:v>
                </c:pt>
                <c:pt idx="67">
                  <c:v>109.23747895476049</c:v>
                </c:pt>
                <c:pt idx="68">
                  <c:v>112.02013926121539</c:v>
                </c:pt>
                <c:pt idx="69">
                  <c:v>114.85199479303515</c:v>
                </c:pt>
                <c:pt idx="70">
                  <c:v>117.73360049107769</c:v>
                </c:pt>
                <c:pt idx="71">
                  <c:v>120.66552453119687</c:v>
                </c:pt>
                <c:pt idx="72">
                  <c:v>123.64834471284429</c:v>
                </c:pt>
                <c:pt idx="73">
                  <c:v>126.68264682179367</c:v>
                </c:pt>
                <c:pt idx="74">
                  <c:v>129.76902459893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67.349934573137588</c:v>
                </c:pt>
                <c:pt idx="50">
                  <c:v>69.791649785248609</c:v>
                </c:pt>
                <c:pt idx="51">
                  <c:v>72.32837673127915</c:v>
                </c:pt>
                <c:pt idx="52">
                  <c:v>74.963430867300929</c:v>
                </c:pt>
                <c:pt idx="53">
                  <c:v>77.700261804777881</c:v>
                </c:pt>
                <c:pt idx="54">
                  <c:v>80.542452848106024</c:v>
                </c:pt>
                <c:pt idx="55">
                  <c:v>83.493675384878841</c:v>
                </c:pt>
                <c:pt idx="56">
                  <c:v>86.557688777584929</c:v>
                </c:pt>
                <c:pt idx="57">
                  <c:v>89.73834503574794</c:v>
                </c:pt>
                <c:pt idx="58">
                  <c:v>93.039595608777617</c:v>
                </c:pt>
                <c:pt idx="59">
                  <c:v>96.465494996709651</c:v>
                </c:pt>
                <c:pt idx="60">
                  <c:v>100.02020603797213</c:v>
                </c:pt>
                <c:pt idx="61">
                  <c:v>103.70799763427146</c:v>
                </c:pt>
                <c:pt idx="62">
                  <c:v>107.53323570222038</c:v>
                </c:pt>
                <c:pt idx="63">
                  <c:v>111.5003820751356</c:v>
                </c:pt>
                <c:pt idx="64">
                  <c:v>115.6139944385136</c:v>
                </c:pt>
                <c:pt idx="65">
                  <c:v>119.87872685916415</c:v>
                </c:pt>
                <c:pt idx="66">
                  <c:v>124.29932845721866</c:v>
                </c:pt>
                <c:pt idx="67">
                  <c:v>128.88064171767414</c:v>
                </c:pt>
                <c:pt idx="68">
                  <c:v>133.62760039261087</c:v>
                </c:pt>
                <c:pt idx="69">
                  <c:v>138.5453103752773</c:v>
                </c:pt>
                <c:pt idx="70">
                  <c:v>143.63903118820375</c:v>
                </c:pt>
                <c:pt idx="71">
                  <c:v>148.91416238297293</c:v>
                </c:pt>
                <c:pt idx="72">
                  <c:v>154.37623745702598</c:v>
                </c:pt>
                <c:pt idx="73">
                  <c:v>160.0309211401935</c:v>
                </c:pt>
                <c:pt idx="74">
                  <c:v>165.88400922655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0.269087363125308</c:v>
                </c:pt>
                <c:pt idx="50">
                  <c:v>75.894075886916966</c:v>
                </c:pt>
                <c:pt idx="51">
                  <c:v>82.026890923361108</c:v>
                </c:pt>
                <c:pt idx="52">
                  <c:v>88.705478809714947</c:v>
                </c:pt>
                <c:pt idx="53">
                  <c:v>95.993952045189758</c:v>
                </c:pt>
                <c:pt idx="54">
                  <c:v>103.95793376477138</c:v>
                </c:pt>
                <c:pt idx="55">
                  <c:v>112.65354071246415</c:v>
                </c:pt>
                <c:pt idx="56">
                  <c:v>122.0983833905227</c:v>
                </c:pt>
                <c:pt idx="57">
                  <c:v>132.34507070446696</c:v>
                </c:pt>
                <c:pt idx="58">
                  <c:v>143.49196535764668</c:v>
                </c:pt>
                <c:pt idx="59">
                  <c:v>155.58539975942892</c:v>
                </c:pt>
                <c:pt idx="60">
                  <c:v>168.68842878178128</c:v>
                </c:pt>
                <c:pt idx="61">
                  <c:v>182.89415371873918</c:v>
                </c:pt>
                <c:pt idx="62">
                  <c:v>198.00520651178797</c:v>
                </c:pt>
                <c:pt idx="63">
                  <c:v>213.89036321650661</c:v>
                </c:pt>
                <c:pt idx="64">
                  <c:v>230.46606030020416</c:v>
                </c:pt>
                <c:pt idx="65">
                  <c:v>247.68198420386918</c:v>
                </c:pt>
                <c:pt idx="66">
                  <c:v>265.52084636580116</c:v>
                </c:pt>
                <c:pt idx="67">
                  <c:v>283.93914220094325</c:v>
                </c:pt>
                <c:pt idx="68">
                  <c:v>302.90363049476213</c:v>
                </c:pt>
                <c:pt idx="69">
                  <c:v>322.40128453524733</c:v>
                </c:pt>
                <c:pt idx="70">
                  <c:v>342.40015833151477</c:v>
                </c:pt>
                <c:pt idx="71">
                  <c:v>362.86992313427942</c:v>
                </c:pt>
                <c:pt idx="72">
                  <c:v>383.79507132118397</c:v>
                </c:pt>
                <c:pt idx="73">
                  <c:v>405.16017884622448</c:v>
                </c:pt>
                <c:pt idx="74">
                  <c:v>426.9471793809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9</c:v>
                </c:pt>
                <c:pt idx="11">
                  <c:v>10</c:v>
                </c:pt>
                <c:pt idx="12">
                  <c:v>12</c:v>
                </c:pt>
                <c:pt idx="13">
                  <c:v>13</c:v>
                </c:pt>
                <c:pt idx="14">
                  <c:v>13</c:v>
                </c:pt>
                <c:pt idx="15">
                  <c:v>13</c:v>
                </c:pt>
                <c:pt idx="16">
                  <c:v>26</c:v>
                </c:pt>
                <c:pt idx="17">
                  <c:v>28</c:v>
                </c:pt>
                <c:pt idx="18">
                  <c:v>28</c:v>
                </c:pt>
                <c:pt idx="19">
                  <c:v>28</c:v>
                </c:pt>
                <c:pt idx="20">
                  <c:v>28</c:v>
                </c:pt>
                <c:pt idx="21">
                  <c:v>29</c:v>
                </c:pt>
                <c:pt idx="22">
                  <c:v>31</c:v>
                </c:pt>
                <c:pt idx="23">
                  <c:v>31</c:v>
                </c:pt>
                <c:pt idx="24">
                  <c:v>33</c:v>
                </c:pt>
                <c:pt idx="25">
                  <c:v>36</c:v>
                </c:pt>
                <c:pt idx="26">
                  <c:v>36</c:v>
                </c:pt>
                <c:pt idx="27">
                  <c:v>36</c:v>
                </c:pt>
                <c:pt idx="28">
                  <c:v>36</c:v>
                </c:pt>
                <c:pt idx="29">
                  <c:v>39</c:v>
                </c:pt>
                <c:pt idx="30">
                  <c:v>39</c:v>
                </c:pt>
                <c:pt idx="31">
                  <c:v>39</c:v>
                </c:pt>
                <c:pt idx="32">
                  <c:v>39</c:v>
                </c:pt>
                <c:pt idx="33">
                  <c:v>40</c:v>
                </c:pt>
                <c:pt idx="34">
                  <c:v>41</c:v>
                </c:pt>
                <c:pt idx="35">
                  <c:v>41</c:v>
                </c:pt>
                <c:pt idx="36">
                  <c:v>43</c:v>
                </c:pt>
                <c:pt idx="37">
                  <c:v>44</c:v>
                </c:pt>
                <c:pt idx="38">
                  <c:v>45</c:v>
                </c:pt>
                <c:pt idx="39">
                  <c:v>45</c:v>
                </c:pt>
                <c:pt idx="40">
                  <c:v>48</c:v>
                </c:pt>
                <c:pt idx="41">
                  <c:v>52</c:v>
                </c:pt>
                <c:pt idx="42">
                  <c:v>53</c:v>
                </c:pt>
                <c:pt idx="43">
                  <c:v>55</c:v>
                </c:pt>
                <c:pt idx="44">
                  <c:v>57</c:v>
                </c:pt>
                <c:pt idx="45">
                  <c:v>59</c:v>
                </c:pt>
                <c:pt idx="46">
                  <c:v>59</c:v>
                </c:pt>
                <c:pt idx="47">
                  <c:v>61</c:v>
                </c:pt>
                <c:pt idx="48">
                  <c:v>64</c:v>
                </c:pt>
                <c:pt idx="49">
                  <c:v>66</c:v>
                </c:pt>
                <c:pt idx="50">
                  <c:v>73</c:v>
                </c:pt>
                <c:pt idx="51">
                  <c:v>83</c:v>
                </c:pt>
                <c:pt idx="52">
                  <c:v>88</c:v>
                </c:pt>
                <c:pt idx="53">
                  <c:v>89</c:v>
                </c:pt>
                <c:pt idx="54">
                  <c:v>96</c:v>
                </c:pt>
                <c:pt idx="55">
                  <c:v>111</c:v>
                </c:pt>
                <c:pt idx="56">
                  <c:v>120</c:v>
                </c:pt>
                <c:pt idx="57">
                  <c:v>135</c:v>
                </c:pt>
                <c:pt idx="58">
                  <c:v>155</c:v>
                </c:pt>
                <c:pt idx="59">
                  <c:v>160</c:v>
                </c:pt>
                <c:pt idx="60">
                  <c:v>166</c:v>
                </c:pt>
                <c:pt idx="61">
                  <c:v>179</c:v>
                </c:pt>
                <c:pt idx="62">
                  <c:v>185</c:v>
                </c:pt>
                <c:pt idx="63">
                  <c:v>206</c:v>
                </c:pt>
                <c:pt idx="64">
                  <c:v>221</c:v>
                </c:pt>
                <c:pt idx="65">
                  <c:v>237</c:v>
                </c:pt>
                <c:pt idx="66">
                  <c:v>245</c:v>
                </c:pt>
                <c:pt idx="67">
                  <c:v>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4.925269794577957</c:v>
                </c:pt>
                <c:pt idx="50">
                  <c:v>65.851407435956162</c:v>
                </c:pt>
                <c:pt idx="51">
                  <c:v>66.778117018065757</c:v>
                </c:pt>
                <c:pt idx="52">
                  <c:v>67.705261981772182</c:v>
                </c:pt>
                <c:pt idx="53">
                  <c:v>68.632712685496998</c:v>
                </c:pt>
                <c:pt idx="54">
                  <c:v>69.560361129691103</c:v>
                </c:pt>
                <c:pt idx="55">
                  <c:v>70.48818262337916</c:v>
                </c:pt>
                <c:pt idx="56">
                  <c:v>71.416136662855834</c:v>
                </c:pt>
                <c:pt idx="57">
                  <c:v>72.344212811646642</c:v>
                </c:pt>
                <c:pt idx="58">
                  <c:v>73.272408103738428</c:v>
                </c:pt>
                <c:pt idx="59">
                  <c:v>74.200694235174325</c:v>
                </c:pt>
                <c:pt idx="60">
                  <c:v>75.12905821957429</c:v>
                </c:pt>
                <c:pt idx="61">
                  <c:v>76.057494879196071</c:v>
                </c:pt>
                <c:pt idx="62">
                  <c:v>76.985972194103056</c:v>
                </c:pt>
                <c:pt idx="63">
                  <c:v>77.914491668952707</c:v>
                </c:pt>
                <c:pt idx="64">
                  <c:v>78.843043358840347</c:v>
                </c:pt>
                <c:pt idx="65">
                  <c:v>79.771622753073046</c:v>
                </c:pt>
                <c:pt idx="66">
                  <c:v>80.700202147304964</c:v>
                </c:pt>
                <c:pt idx="67">
                  <c:v>81.628781541537663</c:v>
                </c:pt>
                <c:pt idx="68">
                  <c:v>82.55736093576958</c:v>
                </c:pt>
                <c:pt idx="69">
                  <c:v>83.485940330002279</c:v>
                </c:pt>
                <c:pt idx="70">
                  <c:v>84.414519724234196</c:v>
                </c:pt>
                <c:pt idx="71">
                  <c:v>85.343099118466895</c:v>
                </c:pt>
                <c:pt idx="72">
                  <c:v>86.271678512698813</c:v>
                </c:pt>
                <c:pt idx="73">
                  <c:v>87.200257906931512</c:v>
                </c:pt>
                <c:pt idx="74">
                  <c:v>88.128837301163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5.088205844825779</c:v>
                </c:pt>
                <c:pt idx="50">
                  <c:v>66.198061442627619</c:v>
                </c:pt>
                <c:pt idx="51">
                  <c:v>67.32981666947903</c:v>
                </c:pt>
                <c:pt idx="52">
                  <c:v>68.483731721527747</c:v>
                </c:pt>
                <c:pt idx="53">
                  <c:v>69.660114835436957</c:v>
                </c:pt>
                <c:pt idx="54">
                  <c:v>70.859291198891796</c:v>
                </c:pt>
                <c:pt idx="55">
                  <c:v>72.081598966641835</c:v>
                </c:pt>
                <c:pt idx="56">
                  <c:v>73.327377461290808</c:v>
                </c:pt>
                <c:pt idx="57">
                  <c:v>74.596947782141967</c:v>
                </c:pt>
                <c:pt idx="58">
                  <c:v>75.890635494242247</c:v>
                </c:pt>
                <c:pt idx="59">
                  <c:v>77.208766953268892</c:v>
                </c:pt>
                <c:pt idx="60">
                  <c:v>78.551652186937403</c:v>
                </c:pt>
                <c:pt idx="61">
                  <c:v>79.919607039533062</c:v>
                </c:pt>
                <c:pt idx="62">
                  <c:v>81.31294569384805</c:v>
                </c:pt>
                <c:pt idx="63">
                  <c:v>82.731978189110862</c:v>
                </c:pt>
                <c:pt idx="64">
                  <c:v>84.176998037244189</c:v>
                </c:pt>
                <c:pt idx="65">
                  <c:v>85.648298924851417</c:v>
                </c:pt>
                <c:pt idx="66">
                  <c:v>87.146171498882595</c:v>
                </c:pt>
                <c:pt idx="67">
                  <c:v>88.670901724770289</c:v>
                </c:pt>
                <c:pt idx="68">
                  <c:v>90.222769972600901</c:v>
                </c:pt>
                <c:pt idx="69">
                  <c:v>91.802074019192688</c:v>
                </c:pt>
                <c:pt idx="70">
                  <c:v>93.409123350793337</c:v>
                </c:pt>
                <c:pt idx="71">
                  <c:v>95.044234834705961</c:v>
                </c:pt>
                <c:pt idx="72">
                  <c:v>96.707730705240095</c:v>
                </c:pt>
                <c:pt idx="73">
                  <c:v>98.399937650615712</c:v>
                </c:pt>
                <c:pt idx="74">
                  <c:v>100.12118679555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65.310540435019035</c:v>
                </c:pt>
                <c:pt idx="50">
                  <c:v>66.672266226388643</c:v>
                </c:pt>
                <c:pt idx="51">
                  <c:v>68.086979330905677</c:v>
                </c:pt>
                <c:pt idx="52">
                  <c:v>69.556528752917814</c:v>
                </c:pt>
                <c:pt idx="53">
                  <c:v>71.08283831420303</c:v>
                </c:pt>
                <c:pt idx="54">
                  <c:v>72.667906396059109</c:v>
                </c:pt>
                <c:pt idx="55">
                  <c:v>74.313780503105491</c:v>
                </c:pt>
                <c:pt idx="56">
                  <c:v>76.022557202883888</c:v>
                </c:pt>
                <c:pt idx="57">
                  <c:v>77.796384731474802</c:v>
                </c:pt>
                <c:pt idx="58">
                  <c:v>79.637466781818276</c:v>
                </c:pt>
                <c:pt idx="59">
                  <c:v>81.548064517395758</c:v>
                </c:pt>
                <c:pt idx="60">
                  <c:v>83.53049952117675</c:v>
                </c:pt>
                <c:pt idx="61">
                  <c:v>85.587152526805227</c:v>
                </c:pt>
                <c:pt idx="62">
                  <c:v>87.72045837239213</c:v>
                </c:pt>
                <c:pt idx="63">
                  <c:v>89.932905388056383</c:v>
                </c:pt>
                <c:pt idx="64">
                  <c:v>92.22703535994026</c:v>
                </c:pt>
                <c:pt idx="65">
                  <c:v>94.60544382530307</c:v>
                </c:pt>
                <c:pt idx="66">
                  <c:v>97.070779331910387</c:v>
                </c:pt>
                <c:pt idx="67">
                  <c:v>99.625742496395162</c:v>
                </c:pt>
                <c:pt idx="68">
                  <c:v>102.27308483434064</c:v>
                </c:pt>
                <c:pt idx="69">
                  <c:v>105.01565386313537</c:v>
                </c:pt>
                <c:pt idx="70">
                  <c:v>107.85638277803666</c:v>
                </c:pt>
                <c:pt idx="71">
                  <c:v>110.79828286742718</c:v>
                </c:pt>
                <c:pt idx="72">
                  <c:v>113.84444012026445</c:v>
                </c:pt>
                <c:pt idx="73">
                  <c:v>116.99801371280019</c:v>
                </c:pt>
                <c:pt idx="74">
                  <c:v>120.262235914807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67.117422048911308</c:v>
                </c:pt>
                <c:pt idx="50">
                  <c:v>70.464890990148206</c:v>
                </c:pt>
                <c:pt idx="51">
                  <c:v>74.112053426424254</c:v>
                </c:pt>
                <c:pt idx="52">
                  <c:v>78.09038322984037</c:v>
                </c:pt>
                <c:pt idx="53">
                  <c:v>82.440943581213133</c:v>
                </c:pt>
                <c:pt idx="54">
                  <c:v>87.200161920509501</c:v>
                </c:pt>
                <c:pt idx="55">
                  <c:v>92.400597106415034</c:v>
                </c:pt>
                <c:pt idx="56">
                  <c:v>98.057429628236491</c:v>
                </c:pt>
                <c:pt idx="57">
                  <c:v>104.20095738725186</c:v>
                </c:pt>
                <c:pt idx="58">
                  <c:v>110.88240816307105</c:v>
                </c:pt>
                <c:pt idx="59">
                  <c:v>118.12947899959067</c:v>
                </c:pt>
                <c:pt idx="60">
                  <c:v>125.98305079693358</c:v>
                </c:pt>
                <c:pt idx="61">
                  <c:v>134.49645981093653</c:v>
                </c:pt>
                <c:pt idx="62">
                  <c:v>143.55340159762673</c:v>
                </c:pt>
                <c:pt idx="63">
                  <c:v>153.07773698491508</c:v>
                </c:pt>
                <c:pt idx="64">
                  <c:v>163.01801308399544</c:v>
                </c:pt>
                <c:pt idx="65">
                  <c:v>173.34299313397463</c:v>
                </c:pt>
                <c:pt idx="66">
                  <c:v>184.04126674227251</c:v>
                </c:pt>
                <c:pt idx="67">
                  <c:v>195.08731767208053</c:v>
                </c:pt>
                <c:pt idx="68">
                  <c:v>206.46050935310993</c:v>
                </c:pt>
                <c:pt idx="69">
                  <c:v>218.14958438626488</c:v>
                </c:pt>
                <c:pt idx="70">
                  <c:v>230.13487066566714</c:v>
                </c:pt>
                <c:pt idx="71">
                  <c:v>242.39730086895364</c:v>
                </c:pt>
                <c:pt idx="72">
                  <c:v>254.92590840349186</c:v>
                </c:pt>
                <c:pt idx="73">
                  <c:v>267.71195393684377</c:v>
                </c:pt>
                <c:pt idx="74">
                  <c:v>280.743905784550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5</c:v>
                </c:pt>
                <c:pt idx="1">
                  <c:v>6</c:v>
                </c:pt>
                <c:pt idx="2">
                  <c:v>10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6</c:v>
                </c:pt>
                <c:pt idx="7">
                  <c:v>18</c:v>
                </c:pt>
                <c:pt idx="8">
                  <c:v>24</c:v>
                </c:pt>
                <c:pt idx="9">
                  <c:v>25</c:v>
                </c:pt>
                <c:pt idx="10">
                  <c:v>26</c:v>
                </c:pt>
                <c:pt idx="11">
                  <c:v>26</c:v>
                </c:pt>
                <c:pt idx="12">
                  <c:v>29</c:v>
                </c:pt>
                <c:pt idx="13">
                  <c:v>31</c:v>
                </c:pt>
                <c:pt idx="14">
                  <c:v>35</c:v>
                </c:pt>
                <c:pt idx="15">
                  <c:v>35</c:v>
                </c:pt>
                <c:pt idx="16">
                  <c:v>38</c:v>
                </c:pt>
                <c:pt idx="17">
                  <c:v>38</c:v>
                </c:pt>
                <c:pt idx="18">
                  <c:v>42</c:v>
                </c:pt>
                <c:pt idx="19">
                  <c:v>47</c:v>
                </c:pt>
                <c:pt idx="20">
                  <c:v>48</c:v>
                </c:pt>
                <c:pt idx="21">
                  <c:v>48</c:v>
                </c:pt>
                <c:pt idx="22">
                  <c:v>51</c:v>
                </c:pt>
                <c:pt idx="23">
                  <c:v>54</c:v>
                </c:pt>
                <c:pt idx="24">
                  <c:v>56</c:v>
                </c:pt>
                <c:pt idx="25">
                  <c:v>56</c:v>
                </c:pt>
                <c:pt idx="26">
                  <c:v>65</c:v>
                </c:pt>
                <c:pt idx="27">
                  <c:v>68</c:v>
                </c:pt>
                <c:pt idx="28">
                  <c:v>77</c:v>
                </c:pt>
                <c:pt idx="29">
                  <c:v>83</c:v>
                </c:pt>
                <c:pt idx="30">
                  <c:v>88</c:v>
                </c:pt>
                <c:pt idx="31">
                  <c:v>91</c:v>
                </c:pt>
                <c:pt idx="32">
                  <c:v>96</c:v>
                </c:pt>
                <c:pt idx="33">
                  <c:v>103</c:v>
                </c:pt>
                <c:pt idx="34">
                  <c:v>112</c:v>
                </c:pt>
                <c:pt idx="35">
                  <c:v>125</c:v>
                </c:pt>
                <c:pt idx="36">
                  <c:v>131</c:v>
                </c:pt>
                <c:pt idx="37">
                  <c:v>142</c:v>
                </c:pt>
                <c:pt idx="38">
                  <c:v>148</c:v>
                </c:pt>
                <c:pt idx="39">
                  <c:v>153</c:v>
                </c:pt>
                <c:pt idx="40">
                  <c:v>176</c:v>
                </c:pt>
                <c:pt idx="41">
                  <c:v>189</c:v>
                </c:pt>
                <c:pt idx="42">
                  <c:v>197</c:v>
                </c:pt>
                <c:pt idx="43">
                  <c:v>207</c:v>
                </c:pt>
                <c:pt idx="44">
                  <c:v>222</c:v>
                </c:pt>
                <c:pt idx="45">
                  <c:v>231</c:v>
                </c:pt>
                <c:pt idx="46">
                  <c:v>241</c:v>
                </c:pt>
                <c:pt idx="47">
                  <c:v>266</c:v>
                </c:pt>
                <c:pt idx="48">
                  <c:v>290</c:v>
                </c:pt>
                <c:pt idx="49">
                  <c:v>310</c:v>
                </c:pt>
                <c:pt idx="50">
                  <c:v>330</c:v>
                </c:pt>
                <c:pt idx="51">
                  <c:v>353</c:v>
                </c:pt>
                <c:pt idx="52">
                  <c:v>371</c:v>
                </c:pt>
                <c:pt idx="53">
                  <c:v>389</c:v>
                </c:pt>
                <c:pt idx="54">
                  <c:v>437</c:v>
                </c:pt>
                <c:pt idx="55">
                  <c:v>486</c:v>
                </c:pt>
                <c:pt idx="56">
                  <c:v>540</c:v>
                </c:pt>
                <c:pt idx="57">
                  <c:v>559</c:v>
                </c:pt>
                <c:pt idx="58">
                  <c:v>620</c:v>
                </c:pt>
                <c:pt idx="59">
                  <c:v>648</c:v>
                </c:pt>
                <c:pt idx="60">
                  <c:v>681</c:v>
                </c:pt>
                <c:pt idx="61">
                  <c:v>770</c:v>
                </c:pt>
                <c:pt idx="62">
                  <c:v>826</c:v>
                </c:pt>
                <c:pt idx="63">
                  <c:v>890</c:v>
                </c:pt>
                <c:pt idx="64">
                  <c:v>961</c:v>
                </c:pt>
                <c:pt idx="65">
                  <c:v>1005</c:v>
                </c:pt>
                <c:pt idx="66">
                  <c:v>1043</c:v>
                </c:pt>
                <c:pt idx="67">
                  <c:v>1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6.59653551824107</c:v>
                </c:pt>
                <c:pt idx="50">
                  <c:v>303.19925818565287</c:v>
                </c:pt>
                <c:pt idx="51">
                  <c:v>309.80605839603766</c:v>
                </c:pt>
                <c:pt idx="52">
                  <c:v>316.41596257694465</c:v>
                </c:pt>
                <c:pt idx="53">
                  <c:v>323.02804647332761</c:v>
                </c:pt>
                <c:pt idx="54">
                  <c:v>329.64154012288384</c:v>
                </c:pt>
                <c:pt idx="55">
                  <c:v>336.25626749598752</c:v>
                </c:pt>
                <c:pt idx="56">
                  <c:v>342.87193982915312</c:v>
                </c:pt>
                <c:pt idx="57">
                  <c:v>349.48848271751518</c:v>
                </c:pt>
                <c:pt idx="58">
                  <c:v>356.10587501544546</c:v>
                </c:pt>
                <c:pt idx="59">
                  <c:v>362.7239149352514</c:v>
                </c:pt>
                <c:pt idx="60">
                  <c:v>369.34250989299937</c:v>
                </c:pt>
                <c:pt idx="61">
                  <c:v>375.96162297495812</c:v>
                </c:pt>
                <c:pt idx="62">
                  <c:v>382.58102590106228</c:v>
                </c:pt>
                <c:pt idx="63">
                  <c:v>389.20072939848171</c:v>
                </c:pt>
                <c:pt idx="64">
                  <c:v>395.82066256690479</c:v>
                </c:pt>
                <c:pt idx="65">
                  <c:v>402.44079324820171</c:v>
                </c:pt>
                <c:pt idx="66">
                  <c:v>409.06092392949313</c:v>
                </c:pt>
                <c:pt idx="67">
                  <c:v>415.68105461079006</c:v>
                </c:pt>
                <c:pt idx="68">
                  <c:v>422.30118529208147</c:v>
                </c:pt>
                <c:pt idx="69">
                  <c:v>428.9213159733784</c:v>
                </c:pt>
                <c:pt idx="70">
                  <c:v>435.54144665466981</c:v>
                </c:pt>
                <c:pt idx="71">
                  <c:v>442.16157733596674</c:v>
                </c:pt>
                <c:pt idx="72">
                  <c:v>448.78170801725815</c:v>
                </c:pt>
                <c:pt idx="73">
                  <c:v>455.40183869855508</c:v>
                </c:pt>
                <c:pt idx="74">
                  <c:v>462.0219693798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97.75815718681832</c:v>
                </c:pt>
                <c:pt idx="50">
                  <c:v>305.67066218149176</c:v>
                </c:pt>
                <c:pt idx="51">
                  <c:v>313.73929642809617</c:v>
                </c:pt>
                <c:pt idx="52">
                  <c:v>321.96591494571931</c:v>
                </c:pt>
                <c:pt idx="53">
                  <c:v>330.35271524919267</c:v>
                </c:pt>
                <c:pt idx="54">
                  <c:v>338.90201570244398</c:v>
                </c:pt>
                <c:pt idx="55">
                  <c:v>347.61622711562745</c:v>
                </c:pt>
                <c:pt idx="56">
                  <c:v>356.4977686248921</c:v>
                </c:pt>
                <c:pt idx="57">
                  <c:v>365.54892944682229</c:v>
                </c:pt>
                <c:pt idx="58">
                  <c:v>374.77203063567515</c:v>
                </c:pt>
                <c:pt idx="59">
                  <c:v>384.16939888235652</c:v>
                </c:pt>
                <c:pt idx="60">
                  <c:v>393.74324447066567</c:v>
                </c:pt>
                <c:pt idx="61">
                  <c:v>403.49581915253299</c:v>
                </c:pt>
                <c:pt idx="62">
                  <c:v>413.42936283458903</c:v>
                </c:pt>
                <c:pt idx="63">
                  <c:v>423.54608588271276</c:v>
                </c:pt>
                <c:pt idx="64">
                  <c:v>433.84808083449093</c:v>
                </c:pt>
                <c:pt idx="65">
                  <c:v>444.33744147286313</c:v>
                </c:pt>
                <c:pt idx="66">
                  <c:v>455.01623991013713</c:v>
                </c:pt>
                <c:pt idx="67">
                  <c:v>465.88651488262951</c:v>
                </c:pt>
                <c:pt idx="68">
                  <c:v>476.95026523569777</c:v>
                </c:pt>
                <c:pt idx="69">
                  <c:v>488.20961391269265</c:v>
                </c:pt>
                <c:pt idx="70">
                  <c:v>499.66676733712143</c:v>
                </c:pt>
                <c:pt idx="71">
                  <c:v>511.32398455432605</c:v>
                </c:pt>
                <c:pt idx="72">
                  <c:v>523.18356287270308</c:v>
                </c:pt>
                <c:pt idx="73">
                  <c:v>535.24783135395853</c:v>
                </c:pt>
                <c:pt idx="74">
                  <c:v>547.51915068902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99.34324948069604</c:v>
                </c:pt>
                <c:pt idx="50">
                  <c:v>309.0514152519259</c:v>
                </c:pt>
                <c:pt idx="51">
                  <c:v>319.13734402292232</c:v>
                </c:pt>
                <c:pt idx="52">
                  <c:v>329.61421791950886</c:v>
                </c:pt>
                <c:pt idx="53">
                  <c:v>340.49575246418885</c:v>
                </c:pt>
                <c:pt idx="54">
                  <c:v>351.79619473742139</c:v>
                </c:pt>
                <c:pt idx="55">
                  <c:v>363.53014203507104</c:v>
                </c:pt>
                <c:pt idx="56">
                  <c:v>375.71254143780152</c:v>
                </c:pt>
                <c:pt idx="57">
                  <c:v>388.35870838732467</c:v>
                </c:pt>
                <c:pt idx="58">
                  <c:v>401.48435369451477</c:v>
                </c:pt>
                <c:pt idx="59">
                  <c:v>415.10559789557146</c:v>
                </c:pt>
                <c:pt idx="60">
                  <c:v>429.23899227597565</c:v>
                </c:pt>
                <c:pt idx="61">
                  <c:v>443.90150982472346</c:v>
                </c:pt>
                <c:pt idx="62">
                  <c:v>459.11050925834729</c:v>
                </c:pt>
                <c:pt idx="63">
                  <c:v>474.88373065450537</c:v>
                </c:pt>
                <c:pt idx="64">
                  <c:v>491.23929519543611</c:v>
                </c:pt>
                <c:pt idx="65">
                  <c:v>508.19570727177268</c:v>
                </c:pt>
                <c:pt idx="66">
                  <c:v>525.77184920249908</c:v>
                </c:pt>
                <c:pt idx="67">
                  <c:v>543.98697452171382</c:v>
                </c:pt>
                <c:pt idx="68">
                  <c:v>562.86069963792852</c:v>
                </c:pt>
                <c:pt idx="69">
                  <c:v>582.41332538631855</c:v>
                </c:pt>
                <c:pt idx="70">
                  <c:v>602.6657634261752</c:v>
                </c:pt>
                <c:pt idx="71">
                  <c:v>623.6394821669162</c:v>
                </c:pt>
                <c:pt idx="72">
                  <c:v>645.35648258154049</c:v>
                </c:pt>
                <c:pt idx="73">
                  <c:v>667.83928741798059</c:v>
                </c:pt>
                <c:pt idx="74">
                  <c:v>691.11094053056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11.17235620223192</c:v>
                </c:pt>
                <c:pt idx="50">
                  <c:v>333.79904887368849</c:v>
                </c:pt>
                <c:pt idx="51">
                  <c:v>358.46535605840836</c:v>
                </c:pt>
                <c:pt idx="52">
                  <c:v>385.33498564393648</c:v>
                </c:pt>
                <c:pt idx="53">
                  <c:v>414.66945349276432</c:v>
                </c:pt>
                <c:pt idx="54">
                  <c:v>446.72946297007383</c:v>
                </c:pt>
                <c:pt idx="55">
                  <c:v>481.73970412521476</c:v>
                </c:pt>
                <c:pt idx="56">
                  <c:v>519.77686629149912</c:v>
                </c:pt>
                <c:pt idx="57">
                  <c:v>561.05131327361539</c:v>
                </c:pt>
                <c:pt idx="58">
                  <c:v>605.94961519913829</c:v>
                </c:pt>
                <c:pt idx="59">
                  <c:v>654.65830036811099</c:v>
                </c:pt>
                <c:pt idx="60">
                  <c:v>707.4351868349795</c:v>
                </c:pt>
                <c:pt idx="61">
                  <c:v>764.65220224269046</c:v>
                </c:pt>
                <c:pt idx="62">
                  <c:v>825.51685957804625</c:v>
                </c:pt>
                <c:pt idx="63">
                  <c:v>889.50373742143768</c:v>
                </c:pt>
                <c:pt idx="64">
                  <c:v>956.27455340159736</c:v>
                </c:pt>
                <c:pt idx="65">
                  <c:v>1025.6253079886435</c:v>
                </c:pt>
                <c:pt idx="66">
                  <c:v>1097.4850610325207</c:v>
                </c:pt>
                <c:pt idx="67">
                  <c:v>1171.6792790428144</c:v>
                </c:pt>
                <c:pt idx="68">
                  <c:v>1248.0731845994464</c:v>
                </c:pt>
                <c:pt idx="69">
                  <c:v>1326.6100145306459</c:v>
                </c:pt>
                <c:pt idx="70">
                  <c:v>1407.1604425525641</c:v>
                </c:pt>
                <c:pt idx="71">
                  <c:v>1489.6012026220883</c:v>
                </c:pt>
                <c:pt idx="72">
                  <c:v>1573.8677516773134</c:v>
                </c:pt>
                <c:pt idx="73">
                  <c:v>1659.8985932073651</c:v>
                </c:pt>
                <c:pt idx="74">
                  <c:v>1747.6200836136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6</c:v>
                </c:pt>
                <c:pt idx="10">
                  <c:v>7</c:v>
                </c:pt>
                <c:pt idx="11">
                  <c:v>8</c:v>
                </c:pt>
                <c:pt idx="12">
                  <c:v>9</c:v>
                </c:pt>
                <c:pt idx="13">
                  <c:v>9</c:v>
                </c:pt>
                <c:pt idx="14">
                  <c:v>10</c:v>
                </c:pt>
                <c:pt idx="15">
                  <c:v>10</c:v>
                </c:pt>
                <c:pt idx="16">
                  <c:v>11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4</c:v>
                </c:pt>
                <c:pt idx="22">
                  <c:v>16</c:v>
                </c:pt>
                <c:pt idx="23">
                  <c:v>17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9</c:v>
                </c:pt>
                <c:pt idx="29">
                  <c:v>20</c:v>
                </c:pt>
                <c:pt idx="30">
                  <c:v>21</c:v>
                </c:pt>
                <c:pt idx="31">
                  <c:v>22</c:v>
                </c:pt>
                <c:pt idx="32">
                  <c:v>26</c:v>
                </c:pt>
                <c:pt idx="33">
                  <c:v>28</c:v>
                </c:pt>
                <c:pt idx="34">
                  <c:v>29</c:v>
                </c:pt>
                <c:pt idx="35">
                  <c:v>31</c:v>
                </c:pt>
                <c:pt idx="36">
                  <c:v>37</c:v>
                </c:pt>
                <c:pt idx="37">
                  <c:v>41</c:v>
                </c:pt>
                <c:pt idx="38">
                  <c:v>43</c:v>
                </c:pt>
                <c:pt idx="39">
                  <c:v>46</c:v>
                </c:pt>
                <c:pt idx="40">
                  <c:v>51</c:v>
                </c:pt>
                <c:pt idx="41">
                  <c:v>55</c:v>
                </c:pt>
                <c:pt idx="42">
                  <c:v>58</c:v>
                </c:pt>
                <c:pt idx="43">
                  <c:v>60</c:v>
                </c:pt>
                <c:pt idx="44">
                  <c:v>71</c:v>
                </c:pt>
                <c:pt idx="45">
                  <c:v>76</c:v>
                </c:pt>
                <c:pt idx="46">
                  <c:v>77</c:v>
                </c:pt>
                <c:pt idx="47">
                  <c:v>86</c:v>
                </c:pt>
                <c:pt idx="48">
                  <c:v>93</c:v>
                </c:pt>
                <c:pt idx="49">
                  <c:v>101</c:v>
                </c:pt>
                <c:pt idx="50">
                  <c:v>108</c:v>
                </c:pt>
                <c:pt idx="51">
                  <c:v>124</c:v>
                </c:pt>
                <c:pt idx="52">
                  <c:v>131</c:v>
                </c:pt>
                <c:pt idx="53">
                  <c:v>139</c:v>
                </c:pt>
                <c:pt idx="54">
                  <c:v>149</c:v>
                </c:pt>
                <c:pt idx="55">
                  <c:v>168</c:v>
                </c:pt>
                <c:pt idx="56">
                  <c:v>182</c:v>
                </c:pt>
                <c:pt idx="57">
                  <c:v>195</c:v>
                </c:pt>
                <c:pt idx="58">
                  <c:v>215</c:v>
                </c:pt>
                <c:pt idx="59">
                  <c:v>230</c:v>
                </c:pt>
                <c:pt idx="60">
                  <c:v>243</c:v>
                </c:pt>
                <c:pt idx="61">
                  <c:v>267</c:v>
                </c:pt>
                <c:pt idx="62">
                  <c:v>288</c:v>
                </c:pt>
                <c:pt idx="63">
                  <c:v>308</c:v>
                </c:pt>
                <c:pt idx="64">
                  <c:v>341</c:v>
                </c:pt>
                <c:pt idx="65">
                  <c:v>365</c:v>
                </c:pt>
                <c:pt idx="66">
                  <c:v>380</c:v>
                </c:pt>
                <c:pt idx="67">
                  <c:v>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95.217456921488534</c:v>
                </c:pt>
                <c:pt idx="50">
                  <c:v>97.436993682722488</c:v>
                </c:pt>
                <c:pt idx="51">
                  <c:v>99.657901129502392</c:v>
                </c:pt>
                <c:pt idx="52">
                  <c:v>101.87985199079883</c:v>
                </c:pt>
                <c:pt idx="53">
                  <c:v>104.10253557386348</c:v>
                </c:pt>
                <c:pt idx="54">
                  <c:v>106.32569305219073</c:v>
                </c:pt>
                <c:pt idx="55">
                  <c:v>108.54926525258108</c:v>
                </c:pt>
                <c:pt idx="56">
                  <c:v>110.77315510580966</c:v>
                </c:pt>
                <c:pt idx="57">
                  <c:v>112.99733760032557</c:v>
                </c:pt>
                <c:pt idx="58">
                  <c:v>115.22180562792485</c:v>
                </c:pt>
                <c:pt idx="59">
                  <c:v>117.44649135671088</c:v>
                </c:pt>
                <c:pt idx="60">
                  <c:v>119.67136366415217</c:v>
                </c:pt>
                <c:pt idx="61">
                  <c:v>121.89641014152161</c:v>
                </c:pt>
                <c:pt idx="62">
                  <c:v>124.12155405138492</c:v>
                </c:pt>
                <c:pt idx="63">
                  <c:v>126.34679899973149</c:v>
                </c:pt>
                <c:pt idx="64">
                  <c:v>128.57212115308292</c:v>
                </c:pt>
                <c:pt idx="65">
                  <c:v>130.79750970133026</c:v>
                </c:pt>
                <c:pt idx="66">
                  <c:v>133.02289824957572</c:v>
                </c:pt>
                <c:pt idx="67">
                  <c:v>135.24828679782306</c:v>
                </c:pt>
                <c:pt idx="68">
                  <c:v>137.47367534606852</c:v>
                </c:pt>
                <c:pt idx="69">
                  <c:v>139.69906389431586</c:v>
                </c:pt>
                <c:pt idx="70">
                  <c:v>141.92445244256132</c:v>
                </c:pt>
                <c:pt idx="71">
                  <c:v>144.14984099080866</c:v>
                </c:pt>
                <c:pt idx="72">
                  <c:v>146.37522953905412</c:v>
                </c:pt>
                <c:pt idx="73">
                  <c:v>148.60061808730146</c:v>
                </c:pt>
                <c:pt idx="74">
                  <c:v>150.826006635546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5.607941593634209</c:v>
                </c:pt>
                <c:pt idx="50">
                  <c:v>98.267767940090337</c:v>
                </c:pt>
                <c:pt idx="51">
                  <c:v>100.9800778803032</c:v>
                </c:pt>
                <c:pt idx="52">
                  <c:v>103.74549498779925</c:v>
                </c:pt>
                <c:pt idx="53">
                  <c:v>106.5647579676851</c:v>
                </c:pt>
                <c:pt idx="54">
                  <c:v>109.43864614906825</c:v>
                </c:pt>
                <c:pt idx="55">
                  <c:v>112.36796993729679</c:v>
                </c:pt>
                <c:pt idx="56">
                  <c:v>115.35354253654174</c:v>
                </c:pt>
                <c:pt idx="57">
                  <c:v>118.39613347789192</c:v>
                </c:pt>
                <c:pt idx="58">
                  <c:v>121.4965229948219</c:v>
                </c:pt>
                <c:pt idx="59">
                  <c:v>124.65549321559267</c:v>
                </c:pt>
                <c:pt idx="60">
                  <c:v>127.87378713766032</c:v>
                </c:pt>
                <c:pt idx="61">
                  <c:v>131.15216169819129</c:v>
                </c:pt>
                <c:pt idx="62">
                  <c:v>134.49136985249791</c:v>
                </c:pt>
                <c:pt idx="63">
                  <c:v>137.89215462562777</c:v>
                </c:pt>
                <c:pt idx="64">
                  <c:v>141.35521943408523</c:v>
                </c:pt>
                <c:pt idx="65">
                  <c:v>144.881268113006</c:v>
                </c:pt>
                <c:pt idx="66">
                  <c:v>148.47099721283934</c:v>
                </c:pt>
                <c:pt idx="67">
                  <c:v>152.12509206453569</c:v>
                </c:pt>
                <c:pt idx="68">
                  <c:v>155.84422458950905</c:v>
                </c:pt>
                <c:pt idx="69">
                  <c:v>159.62910842530661</c:v>
                </c:pt>
                <c:pt idx="70">
                  <c:v>163.48048527172887</c:v>
                </c:pt>
                <c:pt idx="71">
                  <c:v>167.39911451765738</c:v>
                </c:pt>
                <c:pt idx="72">
                  <c:v>171.3857684142823</c:v>
                </c:pt>
                <c:pt idx="73">
                  <c:v>175.44122988682042</c:v>
                </c:pt>
                <c:pt idx="74">
                  <c:v>179.56629249280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6.140777939097347</c:v>
                </c:pt>
                <c:pt idx="50">
                  <c:v>99.404224232207255</c:v>
                </c:pt>
                <c:pt idx="51">
                  <c:v>102.79465736199806</c:v>
                </c:pt>
                <c:pt idx="52">
                  <c:v>106.31650856302716</c:v>
                </c:pt>
                <c:pt idx="53">
                  <c:v>109.97438837369346</c:v>
                </c:pt>
                <c:pt idx="54">
                  <c:v>113.77308601814164</c:v>
                </c:pt>
                <c:pt idx="55">
                  <c:v>117.71750844709763</c:v>
                </c:pt>
                <c:pt idx="56">
                  <c:v>121.81268019311827</c:v>
                </c:pt>
                <c:pt idx="57">
                  <c:v>126.06374961508615</c:v>
                </c:pt>
                <c:pt idx="58">
                  <c:v>130.47599797711621</c:v>
                </c:pt>
                <c:pt idx="59">
                  <c:v>135.05484427444844</c:v>
                </c:pt>
                <c:pt idx="60">
                  <c:v>139.80585230075118</c:v>
                </c:pt>
                <c:pt idx="61">
                  <c:v>144.73472760734356</c:v>
                </c:pt>
                <c:pt idx="62">
                  <c:v>149.84730540969838</c:v>
                </c:pt>
                <c:pt idx="63">
                  <c:v>155.14954911965236</c:v>
                </c:pt>
                <c:pt idx="64">
                  <c:v>160.64755025916719</c:v>
                </c:pt>
                <c:pt idx="65">
                  <c:v>166.34752916753669</c:v>
                </c:pt>
                <c:pt idx="66">
                  <c:v>172.25583322647495</c:v>
                </c:pt>
                <c:pt idx="67">
                  <c:v>178.37893460342985</c:v>
                </c:pt>
                <c:pt idx="68">
                  <c:v>184.72342744781645</c:v>
                </c:pt>
                <c:pt idx="69">
                  <c:v>191.29613598234175</c:v>
                </c:pt>
                <c:pt idx="70">
                  <c:v>198.10408976115693</c:v>
                </c:pt>
                <c:pt idx="71">
                  <c:v>205.15450549262729</c:v>
                </c:pt>
                <c:pt idx="72">
                  <c:v>212.45477890890973</c:v>
                </c:pt>
                <c:pt idx="73">
                  <c:v>220.01248113929711</c:v>
                </c:pt>
                <c:pt idx="74">
                  <c:v>227.83535848548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00.10249554498577</c:v>
                </c:pt>
                <c:pt idx="50">
                  <c:v>107.69128080727305</c:v>
                </c:pt>
                <c:pt idx="51">
                  <c:v>115.96433845581024</c:v>
                </c:pt>
                <c:pt idx="52">
                  <c:v>124.9758527573573</c:v>
                </c:pt>
                <c:pt idx="53">
                  <c:v>134.81329754124729</c:v>
                </c:pt>
                <c:pt idx="54">
                  <c:v>145.56432345799757</c:v>
                </c:pt>
                <c:pt idx="55">
                  <c:v>157.30435740740904</c:v>
                </c:pt>
                <c:pt idx="56">
                  <c:v>170.05873870001935</c:v>
                </c:pt>
                <c:pt idx="57">
                  <c:v>183.89810342316599</c:v>
                </c:pt>
                <c:pt idx="58">
                  <c:v>198.95269698108496</c:v>
                </c:pt>
                <c:pt idx="59">
                  <c:v>215.28506916337579</c:v>
                </c:pt>
                <c:pt idx="60">
                  <c:v>232.98141728993193</c:v>
                </c:pt>
                <c:pt idx="61">
                  <c:v>252.16665044599821</c:v>
                </c:pt>
                <c:pt idx="62">
                  <c:v>272.57488234201605</c:v>
                </c:pt>
                <c:pt idx="63">
                  <c:v>294.02973289386978</c:v>
                </c:pt>
                <c:pt idx="64">
                  <c:v>316.41788522771481</c:v>
                </c:pt>
                <c:pt idx="65">
                  <c:v>339.67102488883882</c:v>
                </c:pt>
                <c:pt idx="66">
                  <c:v>363.76545027651099</c:v>
                </c:pt>
                <c:pt idx="67">
                  <c:v>388.64259412532294</c:v>
                </c:pt>
                <c:pt idx="68">
                  <c:v>414.25732269488026</c:v>
                </c:pt>
                <c:pt idx="69">
                  <c:v>440.59088269306528</c:v>
                </c:pt>
                <c:pt idx="70">
                  <c:v>467.59995291806911</c:v>
                </c:pt>
                <c:pt idx="71">
                  <c:v>495.24327375215063</c:v>
                </c:pt>
                <c:pt idx="72">
                  <c:v>523.49933913193399</c:v>
                </c:pt>
                <c:pt idx="73">
                  <c:v>552.34748800172088</c:v>
                </c:pt>
                <c:pt idx="74">
                  <c:v>581.76308431991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9</c:v>
                </c:pt>
                <c:pt idx="5">
                  <c:v>11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7</c:v>
                </c:pt>
                <c:pt idx="14">
                  <c:v>17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4</c:v>
                </c:pt>
                <c:pt idx="19">
                  <c:v>24</c:v>
                </c:pt>
                <c:pt idx="20">
                  <c:v>25</c:v>
                </c:pt>
                <c:pt idx="21">
                  <c:v>25</c:v>
                </c:pt>
                <c:pt idx="22">
                  <c:v>26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9</c:v>
                </c:pt>
                <c:pt idx="34">
                  <c:v>40</c:v>
                </c:pt>
                <c:pt idx="35">
                  <c:v>43</c:v>
                </c:pt>
                <c:pt idx="36">
                  <c:v>49</c:v>
                </c:pt>
                <c:pt idx="37">
                  <c:v>52</c:v>
                </c:pt>
                <c:pt idx="38">
                  <c:v>53</c:v>
                </c:pt>
                <c:pt idx="39">
                  <c:v>55</c:v>
                </c:pt>
                <c:pt idx="40">
                  <c:v>62</c:v>
                </c:pt>
                <c:pt idx="41">
                  <c:v>67</c:v>
                </c:pt>
                <c:pt idx="42">
                  <c:v>70</c:v>
                </c:pt>
                <c:pt idx="43">
                  <c:v>74</c:v>
                </c:pt>
                <c:pt idx="44">
                  <c:v>80</c:v>
                </c:pt>
                <c:pt idx="45">
                  <c:v>90</c:v>
                </c:pt>
                <c:pt idx="46">
                  <c:v>96</c:v>
                </c:pt>
                <c:pt idx="47">
                  <c:v>108</c:v>
                </c:pt>
                <c:pt idx="48">
                  <c:v>115</c:v>
                </c:pt>
                <c:pt idx="49">
                  <c:v>132</c:v>
                </c:pt>
                <c:pt idx="50">
                  <c:v>141</c:v>
                </c:pt>
                <c:pt idx="51">
                  <c:v>154</c:v>
                </c:pt>
                <c:pt idx="52">
                  <c:v>160</c:v>
                </c:pt>
                <c:pt idx="53">
                  <c:v>170</c:v>
                </c:pt>
                <c:pt idx="54">
                  <c:v>182</c:v>
                </c:pt>
                <c:pt idx="55">
                  <c:v>197</c:v>
                </c:pt>
                <c:pt idx="56">
                  <c:v>224</c:v>
                </c:pt>
                <c:pt idx="57">
                  <c:v>232</c:v>
                </c:pt>
                <c:pt idx="58">
                  <c:v>247</c:v>
                </c:pt>
                <c:pt idx="59">
                  <c:v>276</c:v>
                </c:pt>
                <c:pt idx="60">
                  <c:v>289</c:v>
                </c:pt>
                <c:pt idx="61">
                  <c:v>324</c:v>
                </c:pt>
                <c:pt idx="62">
                  <c:v>354</c:v>
                </c:pt>
                <c:pt idx="63">
                  <c:v>375</c:v>
                </c:pt>
                <c:pt idx="64">
                  <c:v>418</c:v>
                </c:pt>
                <c:pt idx="65">
                  <c:v>440</c:v>
                </c:pt>
                <c:pt idx="66">
                  <c:v>458</c:v>
                </c:pt>
                <c:pt idx="67">
                  <c:v>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8.05498561485652</c:v>
                </c:pt>
                <c:pt idx="50">
                  <c:v>121.11283662044144</c:v>
                </c:pt>
                <c:pt idx="51">
                  <c:v>124.17257601654468</c:v>
                </c:pt>
                <c:pt idx="52">
                  <c:v>127.23375292257538</c:v>
                </c:pt>
                <c:pt idx="53">
                  <c:v>130.29593929780472</c:v>
                </c:pt>
                <c:pt idx="54">
                  <c:v>133.35877855751457</c:v>
                </c:pt>
                <c:pt idx="55">
                  <c:v>136.42218917891566</c:v>
                </c:pt>
                <c:pt idx="56">
                  <c:v>139.48603742994641</c:v>
                </c:pt>
                <c:pt idx="57">
                  <c:v>142.55028885224709</c:v>
                </c:pt>
                <c:pt idx="58">
                  <c:v>145.61493365286051</c:v>
                </c:pt>
                <c:pt idx="59">
                  <c:v>148.67987837992902</c:v>
                </c:pt>
                <c:pt idx="60">
                  <c:v>151.74508015600821</c:v>
                </c:pt>
                <c:pt idx="61">
                  <c:v>154.81052188562151</c:v>
                </c:pt>
                <c:pt idx="62">
                  <c:v>157.87609784777132</c:v>
                </c:pt>
                <c:pt idx="63">
                  <c:v>160.94181301042144</c:v>
                </c:pt>
                <c:pt idx="64">
                  <c:v>164.00763453824013</c:v>
                </c:pt>
                <c:pt idx="65">
                  <c:v>167.07354753816361</c:v>
                </c:pt>
                <c:pt idx="66">
                  <c:v>170.13946053808453</c:v>
                </c:pt>
                <c:pt idx="67">
                  <c:v>173.20537353800802</c:v>
                </c:pt>
                <c:pt idx="68">
                  <c:v>176.27128653792894</c:v>
                </c:pt>
                <c:pt idx="69">
                  <c:v>179.33719953785243</c:v>
                </c:pt>
                <c:pt idx="70">
                  <c:v>182.40311253777335</c:v>
                </c:pt>
                <c:pt idx="71">
                  <c:v>185.46902553769684</c:v>
                </c:pt>
                <c:pt idx="72">
                  <c:v>188.53493853761776</c:v>
                </c:pt>
                <c:pt idx="73">
                  <c:v>191.60085153754125</c:v>
                </c:pt>
                <c:pt idx="74">
                  <c:v>194.66676453746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18.59295550489892</c:v>
                </c:pt>
                <c:pt idx="50">
                  <c:v>122.25739252177912</c:v>
                </c:pt>
                <c:pt idx="51">
                  <c:v>125.99413607250403</c:v>
                </c:pt>
                <c:pt idx="52">
                  <c:v>129.80404525297521</c:v>
                </c:pt>
                <c:pt idx="53">
                  <c:v>133.68813777562372</c:v>
                </c:pt>
                <c:pt idx="54">
                  <c:v>137.64748732047892</c:v>
                </c:pt>
                <c:pt idx="55">
                  <c:v>141.68321038123983</c:v>
                </c:pt>
                <c:pt idx="56">
                  <c:v>145.79642730753773</c:v>
                </c:pt>
                <c:pt idx="57">
                  <c:v>149.98819828069281</c:v>
                </c:pt>
                <c:pt idx="58">
                  <c:v>154.25959822667909</c:v>
                </c:pt>
                <c:pt idx="59">
                  <c:v>158.61170468191364</c:v>
                </c:pt>
                <c:pt idx="60">
                  <c:v>163.04554127238814</c:v>
                </c:pt>
                <c:pt idx="61">
                  <c:v>167.56215082880311</c:v>
                </c:pt>
                <c:pt idx="62">
                  <c:v>172.16257069606726</c:v>
                </c:pt>
                <c:pt idx="63">
                  <c:v>176.84782453818502</c:v>
                </c:pt>
                <c:pt idx="64">
                  <c:v>181.6188814505563</c:v>
                </c:pt>
                <c:pt idx="65">
                  <c:v>186.47671110532843</c:v>
                </c:pt>
                <c:pt idx="66">
                  <c:v>191.42227313855207</c:v>
                </c:pt>
                <c:pt idx="67">
                  <c:v>196.4565117291985</c:v>
                </c:pt>
                <c:pt idx="68">
                  <c:v>201.58035258194957</c:v>
                </c:pt>
                <c:pt idx="69">
                  <c:v>206.79477887371382</c:v>
                </c:pt>
                <c:pt idx="70">
                  <c:v>212.10081244270563</c:v>
                </c:pt>
                <c:pt idx="71">
                  <c:v>217.49949949734815</c:v>
                </c:pt>
                <c:pt idx="72">
                  <c:v>222.99190396643934</c:v>
                </c:pt>
                <c:pt idx="73">
                  <c:v>228.57910448436056</c:v>
                </c:pt>
                <c:pt idx="74">
                  <c:v>234.26219433361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9.32704298803699</c:v>
                </c:pt>
                <c:pt idx="50">
                  <c:v>123.82308590264526</c:v>
                </c:pt>
                <c:pt idx="51">
                  <c:v>128.4940783080765</c:v>
                </c:pt>
                <c:pt idx="52">
                  <c:v>133.3461251066166</c:v>
                </c:pt>
                <c:pt idx="53">
                  <c:v>138.38557822706693</c:v>
                </c:pt>
                <c:pt idx="54">
                  <c:v>143.61903577319518</c:v>
                </c:pt>
                <c:pt idx="55">
                  <c:v>149.0532580404259</c:v>
                </c:pt>
                <c:pt idx="56">
                  <c:v>154.69516731641838</c:v>
                </c:pt>
                <c:pt idx="57">
                  <c:v>160.55185648409355</c:v>
                </c:pt>
                <c:pt idx="58">
                  <c:v>166.63060152962416</c:v>
                </c:pt>
                <c:pt idx="59">
                  <c:v>172.93886819105668</c:v>
                </c:pt>
                <c:pt idx="60">
                  <c:v>179.4843216949198</c:v>
                </c:pt>
                <c:pt idx="61">
                  <c:v>186.27482256695174</c:v>
                </c:pt>
                <c:pt idx="62">
                  <c:v>193.31840997091538</c:v>
                </c:pt>
                <c:pt idx="63">
                  <c:v>200.62329968642754</c:v>
                </c:pt>
                <c:pt idx="64">
                  <c:v>208.1978839901476</c:v>
                </c:pt>
                <c:pt idx="65">
                  <c:v>216.0507326300955</c:v>
                </c:pt>
                <c:pt idx="66">
                  <c:v>224.19059038035934</c:v>
                </c:pt>
                <c:pt idx="67">
                  <c:v>232.62637393206339</c:v>
                </c:pt>
                <c:pt idx="68">
                  <c:v>241.36716803062475</c:v>
                </c:pt>
                <c:pt idx="69">
                  <c:v>250.42237439293839</c:v>
                </c:pt>
                <c:pt idx="70">
                  <c:v>259.80167762058664</c:v>
                </c:pt>
                <c:pt idx="71">
                  <c:v>269.51502015710878</c:v>
                </c:pt>
                <c:pt idx="72">
                  <c:v>279.57259108673526</c:v>
                </c:pt>
                <c:pt idx="73">
                  <c:v>289.98482113795239</c:v>
                </c:pt>
                <c:pt idx="74">
                  <c:v>300.76238237389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24.98409068721467</c:v>
                </c:pt>
                <c:pt idx="50">
                  <c:v>135.6732525802752</c:v>
                </c:pt>
                <c:pt idx="51">
                  <c:v>147.3234700569092</c:v>
                </c:pt>
                <c:pt idx="52">
                  <c:v>160.02086304235394</c:v>
                </c:pt>
                <c:pt idx="53">
                  <c:v>173.89184874522874</c:v>
                </c:pt>
                <c:pt idx="54">
                  <c:v>189.05699408530154</c:v>
                </c:pt>
                <c:pt idx="55">
                  <c:v>205.62161946568673</c:v>
                </c:pt>
                <c:pt idx="56">
                  <c:v>223.62659636169383</c:v>
                </c:pt>
                <c:pt idx="57">
                  <c:v>243.17030598117998</c:v>
                </c:pt>
                <c:pt idx="58">
                  <c:v>264.42815101140758</c:v>
                </c:pt>
                <c:pt idx="59">
                  <c:v>287.48837277396433</c:v>
                </c:pt>
                <c:pt idx="60">
                  <c:v>312.47608318670041</c:v>
                </c:pt>
                <c:pt idx="61">
                  <c:v>339.56494256621903</c:v>
                </c:pt>
                <c:pt idx="62">
                  <c:v>368.38170554650634</c:v>
                </c:pt>
                <c:pt idx="63">
                  <c:v>398.6800847941816</c:v>
                </c:pt>
                <c:pt idx="64">
                  <c:v>430.29856864953683</c:v>
                </c:pt>
                <c:pt idx="65">
                  <c:v>463.13950607254026</c:v>
                </c:pt>
                <c:pt idx="66">
                  <c:v>497.16827594455367</c:v>
                </c:pt>
                <c:pt idx="67">
                  <c:v>532.30279526448362</c:v>
                </c:pt>
                <c:pt idx="68">
                  <c:v>568.47854936274109</c:v>
                </c:pt>
                <c:pt idx="69">
                  <c:v>605.66526065860626</c:v>
                </c:pt>
                <c:pt idx="70">
                  <c:v>643.80118095338833</c:v>
                </c:pt>
                <c:pt idx="71">
                  <c:v>682.82707175374867</c:v>
                </c:pt>
                <c:pt idx="72">
                  <c:v>722.7107255642037</c:v>
                </c:pt>
                <c:pt idx="73">
                  <c:v>763.42352478338023</c:v>
                </c:pt>
                <c:pt idx="74">
                  <c:v>804.92990849513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5</c:v>
                </c:pt>
                <c:pt idx="9">
                  <c:v>7</c:v>
                </c:pt>
                <c:pt idx="10">
                  <c:v>7</c:v>
                </c:pt>
                <c:pt idx="11">
                  <c:v>7</c:v>
                </c:pt>
                <c:pt idx="12">
                  <c:v>9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4</c:v>
                </c:pt>
                <c:pt idx="17">
                  <c:v>12</c:v>
                </c:pt>
                <c:pt idx="18">
                  <c:v>12</c:v>
                </c:pt>
                <c:pt idx="19">
                  <c:v>13</c:v>
                </c:pt>
                <c:pt idx="20">
                  <c:v>14</c:v>
                </c:pt>
                <c:pt idx="21">
                  <c:v>14</c:v>
                </c:pt>
                <c:pt idx="22">
                  <c:v>13</c:v>
                </c:pt>
                <c:pt idx="23">
                  <c:v>12</c:v>
                </c:pt>
                <c:pt idx="24">
                  <c:v>9</c:v>
                </c:pt>
                <c:pt idx="25">
                  <c:v>10</c:v>
                </c:pt>
                <c:pt idx="26">
                  <c:v>8</c:v>
                </c:pt>
                <c:pt idx="27">
                  <c:v>9</c:v>
                </c:pt>
                <c:pt idx="28">
                  <c:v>9</c:v>
                </c:pt>
                <c:pt idx="29">
                  <c:v>10</c:v>
                </c:pt>
                <c:pt idx="30">
                  <c:v>11</c:v>
                </c:pt>
                <c:pt idx="31">
                  <c:v>11</c:v>
                </c:pt>
                <c:pt idx="32">
                  <c:v>14</c:v>
                </c:pt>
                <c:pt idx="33">
                  <c:v>19</c:v>
                </c:pt>
                <c:pt idx="34">
                  <c:v>21</c:v>
                </c:pt>
                <c:pt idx="35">
                  <c:v>19</c:v>
                </c:pt>
                <c:pt idx="36">
                  <c:v>16</c:v>
                </c:pt>
                <c:pt idx="37">
                  <c:v>18</c:v>
                </c:pt>
                <c:pt idx="38">
                  <c:v>19</c:v>
                </c:pt>
                <c:pt idx="39">
                  <c:v>20</c:v>
                </c:pt>
                <c:pt idx="40">
                  <c:v>26</c:v>
                </c:pt>
                <c:pt idx="41">
                  <c:v>23</c:v>
                </c:pt>
                <c:pt idx="42">
                  <c:v>23</c:v>
                </c:pt>
                <c:pt idx="43">
                  <c:v>23</c:v>
                </c:pt>
                <c:pt idx="44">
                  <c:v>27</c:v>
                </c:pt>
                <c:pt idx="45">
                  <c:v>32</c:v>
                </c:pt>
                <c:pt idx="46">
                  <c:v>29</c:v>
                </c:pt>
                <c:pt idx="47">
                  <c:v>33</c:v>
                </c:pt>
                <c:pt idx="48">
                  <c:v>43</c:v>
                </c:pt>
                <c:pt idx="49">
                  <c:v>45</c:v>
                </c:pt>
                <c:pt idx="50">
                  <c:v>51</c:v>
                </c:pt>
                <c:pt idx="51">
                  <c:v>49</c:v>
                </c:pt>
                <c:pt idx="52">
                  <c:v>44</c:v>
                </c:pt>
                <c:pt idx="53">
                  <c:v>49</c:v>
                </c:pt>
                <c:pt idx="54">
                  <c:v>50</c:v>
                </c:pt>
                <c:pt idx="55">
                  <c:v>56</c:v>
                </c:pt>
                <c:pt idx="56">
                  <c:v>57</c:v>
                </c:pt>
                <c:pt idx="57">
                  <c:v>55</c:v>
                </c:pt>
                <c:pt idx="58">
                  <c:v>67</c:v>
                </c:pt>
                <c:pt idx="59">
                  <c:v>68</c:v>
                </c:pt>
                <c:pt idx="60">
                  <c:v>84</c:v>
                </c:pt>
                <c:pt idx="61">
                  <c:v>106</c:v>
                </c:pt>
                <c:pt idx="62">
                  <c:v>112</c:v>
                </c:pt>
                <c:pt idx="63">
                  <c:v>117</c:v>
                </c:pt>
                <c:pt idx="64">
                  <c:v>124</c:v>
                </c:pt>
                <c:pt idx="65">
                  <c:v>127</c:v>
                </c:pt>
                <c:pt idx="66">
                  <c:v>116</c:v>
                </c:pt>
                <c:pt idx="67">
                  <c:v>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3.7356951071016</c:v>
                </c:pt>
                <c:pt idx="50">
                  <c:v>13.783445582350145</c:v>
                </c:pt>
                <c:pt idx="51">
                  <c:v>13.823942773381082</c:v>
                </c:pt>
                <c:pt idx="52">
                  <c:v>13.85834157444271</c:v>
                </c:pt>
                <c:pt idx="53">
                  <c:v>13.887686814863326</c:v>
                </c:pt>
                <c:pt idx="54">
                  <c:v>13.912790198191644</c:v>
                </c:pt>
                <c:pt idx="55">
                  <c:v>13.934267871096452</c:v>
                </c:pt>
                <c:pt idx="56">
                  <c:v>13.952637480722681</c:v>
                </c:pt>
                <c:pt idx="57">
                  <c:v>13.968288347022815</c:v>
                </c:pt>
                <c:pt idx="58">
                  <c:v>13.981622850092217</c:v>
                </c:pt>
                <c:pt idx="59">
                  <c:v>13.992983816871824</c:v>
                </c:pt>
                <c:pt idx="60">
                  <c:v>14.002663335148249</c:v>
                </c:pt>
                <c:pt idx="61">
                  <c:v>14.010910263062147</c:v>
                </c:pt>
                <c:pt idx="62">
                  <c:v>14.017936627192547</c:v>
                </c:pt>
                <c:pt idx="63">
                  <c:v>14.023923073710383</c:v>
                </c:pt>
                <c:pt idx="64">
                  <c:v>14.029023512749095</c:v>
                </c:pt>
                <c:pt idx="65">
                  <c:v>14.033369075398008</c:v>
                </c:pt>
                <c:pt idx="66">
                  <c:v>14.037071485051822</c:v>
                </c:pt>
                <c:pt idx="67">
                  <c:v>14.040225929792843</c:v>
                </c:pt>
                <c:pt idx="68">
                  <c:v>14.042913509654223</c:v>
                </c:pt>
                <c:pt idx="69">
                  <c:v>14.04520332168274</c:v>
                </c:pt>
                <c:pt idx="70">
                  <c:v>14.047154236407652</c:v>
                </c:pt>
                <c:pt idx="71">
                  <c:v>14.048816411388167</c:v>
                </c:pt>
                <c:pt idx="72">
                  <c:v>14.050232580752498</c:v>
                </c:pt>
                <c:pt idx="73">
                  <c:v>14.051439153882272</c:v>
                </c:pt>
                <c:pt idx="74">
                  <c:v>14.052467151489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6.900220100369854</c:v>
                </c:pt>
                <c:pt idx="50">
                  <c:v>17.284462476780867</c:v>
                </c:pt>
                <c:pt idx="51">
                  <c:v>17.671797993723526</c:v>
                </c:pt>
                <c:pt idx="52">
                  <c:v>18.062679582286265</c:v>
                </c:pt>
                <c:pt idx="53">
                  <c:v>18.457460393466739</c:v>
                </c:pt>
                <c:pt idx="54">
                  <c:v>18.856421257420269</c:v>
                </c:pt>
                <c:pt idx="55">
                  <c:v>19.259749457601366</c:v>
                </c:pt>
                <c:pt idx="56">
                  <c:v>19.667583257578777</c:v>
                </c:pt>
                <c:pt idx="57">
                  <c:v>20.080036751913774</c:v>
                </c:pt>
                <c:pt idx="58">
                  <c:v>20.497162269706983</c:v>
                </c:pt>
                <c:pt idx="59">
                  <c:v>20.9190127328114</c:v>
                </c:pt>
                <c:pt idx="60">
                  <c:v>21.345641662546718</c:v>
                </c:pt>
                <c:pt idx="61">
                  <c:v>21.777103186489757</c:v>
                </c:pt>
                <c:pt idx="62">
                  <c:v>22.213452045341729</c:v>
                </c:pt>
                <c:pt idx="63">
                  <c:v>22.654743599873385</c:v>
                </c:pt>
                <c:pt idx="64">
                  <c:v>23.101033837948762</c:v>
                </c:pt>
                <c:pt idx="65">
                  <c:v>23.552379381628516</c:v>
                </c:pt>
                <c:pt idx="66">
                  <c:v>24.008837494353735</c:v>
                </c:pt>
                <c:pt idx="67">
                  <c:v>24.47046608821109</c:v>
                </c:pt>
                <c:pt idx="68">
                  <c:v>24.937323731280301</c:v>
                </c:pt>
                <c:pt idx="69">
                  <c:v>25.40946965506485</c:v>
                </c:pt>
                <c:pt idx="70">
                  <c:v>25.886963762006808</c:v>
                </c:pt>
                <c:pt idx="71">
                  <c:v>26.369866633086861</c:v>
                </c:pt>
                <c:pt idx="72">
                  <c:v>26.858239535510354</c:v>
                </c:pt>
                <c:pt idx="73">
                  <c:v>27.35214443048044</c:v>
                </c:pt>
                <c:pt idx="74">
                  <c:v>27.851643981059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1.392706989168026</c:v>
                </c:pt>
                <c:pt idx="50">
                  <c:v>22.293144130806766</c:v>
                </c:pt>
                <c:pt idx="51">
                  <c:v>23.225404060027053</c:v>
                </c:pt>
                <c:pt idx="52">
                  <c:v>24.190375795440225</c:v>
                </c:pt>
                <c:pt idx="53">
                  <c:v>25.188967194440103</c:v>
                </c:pt>
                <c:pt idx="54">
                  <c:v>26.222100100380583</c:v>
                </c:pt>
                <c:pt idx="55">
                  <c:v>27.290700455246711</c:v>
                </c:pt>
                <c:pt idx="56">
                  <c:v>28.395697480965765</c:v>
                </c:pt>
                <c:pt idx="57">
                  <c:v>29.538024207422833</c:v>
                </c:pt>
                <c:pt idx="58">
                  <c:v>30.718941729919308</c:v>
                </c:pt>
                <c:pt idx="59">
                  <c:v>31.939753746866913</c:v>
                </c:pt>
                <c:pt idx="60">
                  <c:v>33.201807999032638</c:v>
                </c:pt>
                <c:pt idx="61">
                  <c:v>34.5064977574051</c:v>
                </c:pt>
                <c:pt idx="62">
                  <c:v>35.855263361325022</c:v>
                </c:pt>
                <c:pt idx="63">
                  <c:v>37.249593808577707</c:v>
                </c:pt>
                <c:pt idx="64">
                  <c:v>38.691028399203056</c:v>
                </c:pt>
                <c:pt idx="65">
                  <c:v>40.181158434837812</c:v>
                </c:pt>
                <c:pt idx="66">
                  <c:v>41.721628975466025</c:v>
                </c:pt>
                <c:pt idx="67">
                  <c:v>43.314140655517171</c:v>
                </c:pt>
                <c:pt idx="68">
                  <c:v>44.960451561316823</c:v>
                </c:pt>
                <c:pt idx="69">
                  <c:v>46.66237917196257</c:v>
                </c:pt>
                <c:pt idx="70">
                  <c:v>48.421802365767746</c:v>
                </c:pt>
                <c:pt idx="71">
                  <c:v>50.240663494488203</c:v>
                </c:pt>
                <c:pt idx="72">
                  <c:v>52.120970527621793</c:v>
                </c:pt>
                <c:pt idx="73">
                  <c:v>54.064799269148011</c:v>
                </c:pt>
                <c:pt idx="74">
                  <c:v>56.074295649154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5.130255230932484</c:v>
                </c:pt>
                <c:pt idx="50">
                  <c:v>38.002521212007011</c:v>
                </c:pt>
                <c:pt idx="51">
                  <c:v>41.087240559214294</c:v>
                </c:pt>
                <c:pt idx="52">
                  <c:v>44.485292295310025</c:v>
                </c:pt>
                <c:pt idx="53">
                  <c:v>48.256474933819568</c:v>
                </c:pt>
                <c:pt idx="54">
                  <c:v>52.402885223323537</c:v>
                </c:pt>
                <c:pt idx="55">
                  <c:v>56.884566626131502</c:v>
                </c:pt>
                <c:pt idx="56">
                  <c:v>61.722934398547835</c:v>
                </c:pt>
                <c:pt idx="57">
                  <c:v>67.087439515083076</c:v>
                </c:pt>
                <c:pt idx="58">
                  <c:v>72.905331549928576</c:v>
                </c:pt>
                <c:pt idx="59">
                  <c:v>79.214100439400681</c:v>
                </c:pt>
                <c:pt idx="60">
                  <c:v>86.04165161853777</c:v>
                </c:pt>
                <c:pt idx="61">
                  <c:v>93.339217735162322</c:v>
                </c:pt>
                <c:pt idx="62">
                  <c:v>100.94020516973379</c:v>
                </c:pt>
                <c:pt idx="63">
                  <c:v>108.60620100834436</c:v>
                </c:pt>
                <c:pt idx="64">
                  <c:v>116.26957659667556</c:v>
                </c:pt>
                <c:pt idx="65">
                  <c:v>123.96380145994233</c:v>
                </c:pt>
                <c:pt idx="66">
                  <c:v>131.54090476235416</c:v>
                </c:pt>
                <c:pt idx="67">
                  <c:v>138.93335888302732</c:v>
                </c:pt>
                <c:pt idx="68">
                  <c:v>146.14581351588077</c:v>
                </c:pt>
                <c:pt idx="69">
                  <c:v>153.15122249359189</c:v>
                </c:pt>
                <c:pt idx="70">
                  <c:v>159.92020686652808</c:v>
                </c:pt>
                <c:pt idx="71">
                  <c:v>166.46678305820313</c:v>
                </c:pt>
                <c:pt idx="72">
                  <c:v>172.77406532200013</c:v>
                </c:pt>
                <c:pt idx="73">
                  <c:v>178.8058776678765</c:v>
                </c:pt>
                <c:pt idx="74">
                  <c:v>184.59212639820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5</c:v>
                </c:pt>
                <c:pt idx="6">
                  <c:v>5</c:v>
                </c:pt>
                <c:pt idx="7">
                  <c:v>7</c:v>
                </c:pt>
                <c:pt idx="8">
                  <c:v>9</c:v>
                </c:pt>
                <c:pt idx="9">
                  <c:v>9</c:v>
                </c:pt>
                <c:pt idx="10">
                  <c:v>12</c:v>
                </c:pt>
                <c:pt idx="11">
                  <c:v>19</c:v>
                </c:pt>
                <c:pt idx="12">
                  <c:v>25</c:v>
                </c:pt>
                <c:pt idx="13">
                  <c:v>31</c:v>
                </c:pt>
                <c:pt idx="14">
                  <c:v>34</c:v>
                </c:pt>
                <c:pt idx="15">
                  <c:v>37</c:v>
                </c:pt>
                <c:pt idx="16">
                  <c:v>40</c:v>
                </c:pt>
                <c:pt idx="17">
                  <c:v>43</c:v>
                </c:pt>
                <c:pt idx="18">
                  <c:v>46</c:v>
                </c:pt>
                <c:pt idx="19">
                  <c:v>52</c:v>
                </c:pt>
                <c:pt idx="20">
                  <c:v>56</c:v>
                </c:pt>
                <c:pt idx="21">
                  <c:v>63</c:v>
                </c:pt>
                <c:pt idx="22">
                  <c:v>68</c:v>
                </c:pt>
                <c:pt idx="23">
                  <c:v>74</c:v>
                </c:pt>
                <c:pt idx="24">
                  <c:v>81</c:v>
                </c:pt>
                <c:pt idx="25">
                  <c:v>83</c:v>
                </c:pt>
                <c:pt idx="26">
                  <c:v>86</c:v>
                </c:pt>
                <c:pt idx="27">
                  <c:v>92</c:v>
                </c:pt>
                <c:pt idx="28">
                  <c:v>97</c:v>
                </c:pt>
                <c:pt idx="29">
                  <c:v>100</c:v>
                </c:pt>
                <c:pt idx="30">
                  <c:v>105</c:v>
                </c:pt>
                <c:pt idx="31">
                  <c:v>115</c:v>
                </c:pt>
                <c:pt idx="32">
                  <c:v>118</c:v>
                </c:pt>
                <c:pt idx="33">
                  <c:v>123</c:v>
                </c:pt>
                <c:pt idx="34">
                  <c:v>128</c:v>
                </c:pt>
                <c:pt idx="35">
                  <c:v>138</c:v>
                </c:pt>
                <c:pt idx="36">
                  <c:v>146</c:v>
                </c:pt>
                <c:pt idx="37">
                  <c:v>152</c:v>
                </c:pt>
                <c:pt idx="38">
                  <c:v>159</c:v>
                </c:pt>
                <c:pt idx="39">
                  <c:v>164</c:v>
                </c:pt>
                <c:pt idx="40">
                  <c:v>175</c:v>
                </c:pt>
                <c:pt idx="41">
                  <c:v>184</c:v>
                </c:pt>
                <c:pt idx="42">
                  <c:v>206</c:v>
                </c:pt>
                <c:pt idx="43">
                  <c:v>213</c:v>
                </c:pt>
                <c:pt idx="44">
                  <c:v>227</c:v>
                </c:pt>
                <c:pt idx="45">
                  <c:v>240</c:v>
                </c:pt>
                <c:pt idx="46">
                  <c:v>250</c:v>
                </c:pt>
                <c:pt idx="47">
                  <c:v>266</c:v>
                </c:pt>
                <c:pt idx="48">
                  <c:v>305</c:v>
                </c:pt>
                <c:pt idx="49">
                  <c:v>320</c:v>
                </c:pt>
                <c:pt idx="50">
                  <c:v>345</c:v>
                </c:pt>
                <c:pt idx="51">
                  <c:v>377</c:v>
                </c:pt>
                <c:pt idx="52">
                  <c:v>401</c:v>
                </c:pt>
                <c:pt idx="53">
                  <c:v>421</c:v>
                </c:pt>
                <c:pt idx="54">
                  <c:v>473</c:v>
                </c:pt>
                <c:pt idx="55">
                  <c:v>544</c:v>
                </c:pt>
                <c:pt idx="56">
                  <c:v>590</c:v>
                </c:pt>
                <c:pt idx="57">
                  <c:v>628</c:v>
                </c:pt>
                <c:pt idx="58">
                  <c:v>674</c:v>
                </c:pt>
                <c:pt idx="59">
                  <c:v>708</c:v>
                </c:pt>
                <c:pt idx="60">
                  <c:v>749</c:v>
                </c:pt>
                <c:pt idx="61">
                  <c:v>836</c:v>
                </c:pt>
                <c:pt idx="62">
                  <c:v>935</c:v>
                </c:pt>
                <c:pt idx="63">
                  <c:v>1016</c:v>
                </c:pt>
                <c:pt idx="64">
                  <c:v>1059</c:v>
                </c:pt>
                <c:pt idx="65">
                  <c:v>1122</c:v>
                </c:pt>
                <c:pt idx="66">
                  <c:v>1160</c:v>
                </c:pt>
                <c:pt idx="67">
                  <c:v>1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11.62046490948018</c:v>
                </c:pt>
                <c:pt idx="50">
                  <c:v>318.24713941244488</c:v>
                </c:pt>
                <c:pt idx="51">
                  <c:v>324.87790624995324</c:v>
                </c:pt>
                <c:pt idx="52">
                  <c:v>331.51178831785268</c:v>
                </c:pt>
                <c:pt idx="53">
                  <c:v>338.14785800829748</c:v>
                </c:pt>
                <c:pt idx="54">
                  <c:v>344.78534256589325</c:v>
                </c:pt>
                <c:pt idx="55">
                  <c:v>351.42406532245434</c:v>
                </c:pt>
                <c:pt idx="56">
                  <c:v>358.06373646698574</c:v>
                </c:pt>
                <c:pt idx="57">
                  <c:v>364.70428132471307</c:v>
                </c:pt>
                <c:pt idx="58">
                  <c:v>371.34567867330088</c:v>
                </c:pt>
                <c:pt idx="59">
                  <c:v>377.98772599305772</c:v>
                </c:pt>
                <c:pt idx="60">
                  <c:v>384.6303303641954</c:v>
                </c:pt>
                <c:pt idx="61">
                  <c:v>391.27345473907536</c:v>
                </c:pt>
                <c:pt idx="62">
                  <c:v>397.91687000953056</c:v>
                </c:pt>
                <c:pt idx="63">
                  <c:v>404.56058694164437</c:v>
                </c:pt>
                <c:pt idx="64">
                  <c:v>411.2045343779094</c:v>
                </c:pt>
                <c:pt idx="65">
                  <c:v>417.84868004353996</c:v>
                </c:pt>
                <c:pt idx="66">
                  <c:v>424.49282570916495</c:v>
                </c:pt>
                <c:pt idx="67">
                  <c:v>431.13697137479551</c:v>
                </c:pt>
                <c:pt idx="68">
                  <c:v>437.7811170404205</c:v>
                </c:pt>
                <c:pt idx="69">
                  <c:v>444.42526270605106</c:v>
                </c:pt>
                <c:pt idx="70">
                  <c:v>451.06940837167605</c:v>
                </c:pt>
                <c:pt idx="71">
                  <c:v>457.71355403730661</c:v>
                </c:pt>
                <c:pt idx="72">
                  <c:v>464.3576997029316</c:v>
                </c:pt>
                <c:pt idx="73">
                  <c:v>471.00184536856216</c:v>
                </c:pt>
                <c:pt idx="74">
                  <c:v>477.64599103418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12.78630044142585</c:v>
                </c:pt>
                <c:pt idx="50">
                  <c:v>320.7275085981114</c:v>
                </c:pt>
                <c:pt idx="51">
                  <c:v>328.82541237644472</c:v>
                </c:pt>
                <c:pt idx="52">
                  <c:v>337.0818735247243</c:v>
                </c:pt>
                <c:pt idx="53">
                  <c:v>345.49909752941949</c:v>
                </c:pt>
                <c:pt idx="54">
                  <c:v>354.07941116448427</c:v>
                </c:pt>
                <c:pt idx="55">
                  <c:v>362.82523398545442</c:v>
                </c:pt>
                <c:pt idx="56">
                  <c:v>371.73899390406342</c:v>
                </c:pt>
                <c:pt idx="57">
                  <c:v>380.82298844118804</c:v>
                </c:pt>
                <c:pt idx="58">
                  <c:v>390.07954707087106</c:v>
                </c:pt>
                <c:pt idx="59">
                  <c:v>399.51100492425138</c:v>
                </c:pt>
                <c:pt idx="60">
                  <c:v>409.11958030308642</c:v>
                </c:pt>
                <c:pt idx="61">
                  <c:v>418.90753312769328</c:v>
                </c:pt>
                <c:pt idx="62">
                  <c:v>428.87711143011956</c:v>
                </c:pt>
                <c:pt idx="63">
                  <c:v>439.03053359450007</c:v>
                </c:pt>
                <c:pt idx="64">
                  <c:v>449.36989974924722</c:v>
                </c:pt>
                <c:pt idx="65">
                  <c:v>459.89731127264372</c:v>
                </c:pt>
                <c:pt idx="66">
                  <c:v>470.61484779372887</c:v>
                </c:pt>
                <c:pt idx="67">
                  <c:v>481.52455544447702</c:v>
                </c:pt>
                <c:pt idx="68">
                  <c:v>492.62844032119608</c:v>
                </c:pt>
                <c:pt idx="69">
                  <c:v>503.92863306836142</c:v>
                </c:pt>
                <c:pt idx="70">
                  <c:v>515.42734811343507</c:v>
                </c:pt>
                <c:pt idx="71">
                  <c:v>527.1268526966029</c:v>
                </c:pt>
                <c:pt idx="72">
                  <c:v>539.02945245990747</c:v>
                </c:pt>
                <c:pt idx="73">
                  <c:v>551.13748491388822</c:v>
                </c:pt>
                <c:pt idx="74">
                  <c:v>563.45331931305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14.37714276780861</c:v>
                </c:pt>
                <c:pt idx="50">
                  <c:v>324.12052558536698</c:v>
                </c:pt>
                <c:pt idx="51">
                  <c:v>334.2430417642388</c:v>
                </c:pt>
                <c:pt idx="52">
                  <c:v>344.75792124932565</c:v>
                </c:pt>
                <c:pt idx="53">
                  <c:v>355.67892931714232</c:v>
                </c:pt>
                <c:pt idx="54">
                  <c:v>367.0203647304229</c:v>
                </c:pt>
                <c:pt idx="55">
                  <c:v>378.79687773773753</c:v>
                </c:pt>
                <c:pt idx="56">
                  <c:v>391.02346964132437</c:v>
                </c:pt>
                <c:pt idx="57">
                  <c:v>403.71551144072487</c:v>
                </c:pt>
                <c:pt idx="58">
                  <c:v>416.88877093887214</c:v>
                </c:pt>
                <c:pt idx="59">
                  <c:v>430.55942715033166</c:v>
                </c:pt>
                <c:pt idx="60">
                  <c:v>444.74409140152329</c:v>
                </c:pt>
                <c:pt idx="61">
                  <c:v>459.45979825214079</c:v>
                </c:pt>
                <c:pt idx="62">
                  <c:v>474.72396938866774</c:v>
                </c:pt>
                <c:pt idx="63">
                  <c:v>490.55440924212752</c:v>
                </c:pt>
                <c:pt idx="64">
                  <c:v>506.96930473060701</c:v>
                </c:pt>
                <c:pt idx="65">
                  <c:v>523.98722737070295</c:v>
                </c:pt>
                <c:pt idx="66">
                  <c:v>541.62712797832432</c:v>
                </c:pt>
                <c:pt idx="67">
                  <c:v>559.90832993110337</c:v>
                </c:pt>
                <c:pt idx="68">
                  <c:v>578.85052079743741</c:v>
                </c:pt>
                <c:pt idx="69">
                  <c:v>598.47407505519288</c:v>
                </c:pt>
                <c:pt idx="70">
                  <c:v>618.79998022215909</c:v>
                </c:pt>
                <c:pt idx="71">
                  <c:v>639.84978258590161</c:v>
                </c:pt>
                <c:pt idx="72">
                  <c:v>661.64556292947861</c:v>
                </c:pt>
                <c:pt idx="73">
                  <c:v>684.20992570365672</c:v>
                </c:pt>
                <c:pt idx="74">
                  <c:v>707.56599835595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26.38210065358459</c:v>
                </c:pt>
                <c:pt idx="50">
                  <c:v>349.24726927609447</c:v>
                </c:pt>
                <c:pt idx="51">
                  <c:v>374.17169992102811</c:v>
                </c:pt>
                <c:pt idx="52">
                  <c:v>401.32735710674103</c:v>
                </c:pt>
                <c:pt idx="53">
                  <c:v>430.98064999068123</c:v>
                </c:pt>
                <c:pt idx="54">
                  <c:v>463.39310126799234</c:v>
                </c:pt>
                <c:pt idx="55">
                  <c:v>498.79115462558264</c:v>
                </c:pt>
                <c:pt idx="56">
                  <c:v>537.25576020529422</c:v>
                </c:pt>
                <c:pt idx="57">
                  <c:v>578.99875707609658</c:v>
                </c:pt>
                <c:pt idx="58">
                  <c:v>624.40542134817679</c:v>
                </c:pt>
                <c:pt idx="59">
                  <c:v>673.66433856269919</c:v>
                </c:pt>
                <c:pt idx="60">
                  <c:v>727.03850951717027</c:v>
                </c:pt>
                <c:pt idx="61">
                  <c:v>784.90226211502613</c:v>
                </c:pt>
                <c:pt idx="62">
                  <c:v>846.45560202644447</c:v>
                </c:pt>
                <c:pt idx="63">
                  <c:v>911.16900470286726</c:v>
                </c:pt>
                <c:pt idx="64">
                  <c:v>978.69935634325964</c:v>
                </c:pt>
                <c:pt idx="65">
                  <c:v>1048.8395562691123</c:v>
                </c:pt>
                <c:pt idx="66">
                  <c:v>1121.5170926216194</c:v>
                </c:pt>
                <c:pt idx="67">
                  <c:v>1196.5558668463252</c:v>
                </c:pt>
                <c:pt idx="68">
                  <c:v>1273.8190533748309</c:v>
                </c:pt>
                <c:pt idx="69">
                  <c:v>1353.246716178774</c:v>
                </c:pt>
                <c:pt idx="70">
                  <c:v>1434.7076805328195</c:v>
                </c:pt>
                <c:pt idx="71">
                  <c:v>1518.0766331231814</c:v>
                </c:pt>
                <c:pt idx="72">
                  <c:v>1603.2870740979279</c:v>
                </c:pt>
                <c:pt idx="73">
                  <c:v>1690.2771817123287</c:v>
                </c:pt>
                <c:pt idx="74">
                  <c:v>1778.9719630521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2</c:v>
                </c:pt>
                <c:pt idx="20">
                  <c:v>5</c:v>
                </c:pt>
                <c:pt idx="21">
                  <c:v>6</c:v>
                </c:pt>
                <c:pt idx="22">
                  <c:v>7</c:v>
                </c:pt>
                <c:pt idx="23">
                  <c:v>7</c:v>
                </c:pt>
                <c:pt idx="24">
                  <c:v>9</c:v>
                </c:pt>
                <c:pt idx="25">
                  <c:v>12</c:v>
                </c:pt>
                <c:pt idx="26">
                  <c:v>18</c:v>
                </c:pt>
                <c:pt idx="27">
                  <c:v>19</c:v>
                </c:pt>
                <c:pt idx="28">
                  <c:v>23</c:v>
                </c:pt>
                <c:pt idx="29">
                  <c:v>21</c:v>
                </c:pt>
                <c:pt idx="30">
                  <c:v>24</c:v>
                </c:pt>
                <c:pt idx="31">
                  <c:v>21</c:v>
                </c:pt>
                <c:pt idx="32">
                  <c:v>23</c:v>
                </c:pt>
                <c:pt idx="33">
                  <c:v>26</c:v>
                </c:pt>
                <c:pt idx="34">
                  <c:v>27</c:v>
                </c:pt>
                <c:pt idx="35">
                  <c:v>26</c:v>
                </c:pt>
                <c:pt idx="36">
                  <c:v>24</c:v>
                </c:pt>
                <c:pt idx="37">
                  <c:v>33</c:v>
                </c:pt>
                <c:pt idx="38">
                  <c:v>30</c:v>
                </c:pt>
                <c:pt idx="39">
                  <c:v>35</c:v>
                </c:pt>
                <c:pt idx="40">
                  <c:v>36</c:v>
                </c:pt>
                <c:pt idx="41">
                  <c:v>33</c:v>
                </c:pt>
                <c:pt idx="42">
                  <c:v>35</c:v>
                </c:pt>
                <c:pt idx="43">
                  <c:v>35</c:v>
                </c:pt>
                <c:pt idx="44">
                  <c:v>44</c:v>
                </c:pt>
                <c:pt idx="45">
                  <c:v>49</c:v>
                </c:pt>
                <c:pt idx="46">
                  <c:v>61</c:v>
                </c:pt>
                <c:pt idx="47">
                  <c:v>74</c:v>
                </c:pt>
                <c:pt idx="48">
                  <c:v>75</c:v>
                </c:pt>
                <c:pt idx="49">
                  <c:v>81</c:v>
                </c:pt>
                <c:pt idx="50">
                  <c:v>80</c:v>
                </c:pt>
                <c:pt idx="51">
                  <c:v>79</c:v>
                </c:pt>
                <c:pt idx="52">
                  <c:v>82</c:v>
                </c:pt>
                <c:pt idx="53">
                  <c:v>90</c:v>
                </c:pt>
                <c:pt idx="54">
                  <c:v>105</c:v>
                </c:pt>
                <c:pt idx="55">
                  <c:v>94</c:v>
                </c:pt>
                <c:pt idx="56">
                  <c:v>102</c:v>
                </c:pt>
                <c:pt idx="57">
                  <c:v>104</c:v>
                </c:pt>
                <c:pt idx="58">
                  <c:v>110</c:v>
                </c:pt>
                <c:pt idx="59">
                  <c:v>124</c:v>
                </c:pt>
                <c:pt idx="60">
                  <c:v>137</c:v>
                </c:pt>
                <c:pt idx="61">
                  <c:v>150</c:v>
                </c:pt>
                <c:pt idx="62">
                  <c:v>155</c:v>
                </c:pt>
                <c:pt idx="63">
                  <c:v>160</c:v>
                </c:pt>
                <c:pt idx="64">
                  <c:v>190</c:v>
                </c:pt>
                <c:pt idx="65">
                  <c:v>194</c:v>
                </c:pt>
                <c:pt idx="66">
                  <c:v>192</c:v>
                </c:pt>
                <c:pt idx="67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8.506744116748546</c:v>
                </c:pt>
                <c:pt idx="50">
                  <c:v>28.605844349299545</c:v>
                </c:pt>
                <c:pt idx="51">
                  <c:v>28.689891283449182</c:v>
                </c:pt>
                <c:pt idx="52">
                  <c:v>28.761281760024314</c:v>
                </c:pt>
                <c:pt idx="53">
                  <c:v>28.822184193661073</c:v>
                </c:pt>
                <c:pt idx="54">
                  <c:v>28.87428317514145</c:v>
                </c:pt>
                <c:pt idx="55">
                  <c:v>28.918857441019266</c:v>
                </c:pt>
                <c:pt idx="56">
                  <c:v>28.9569813042134</c:v>
                </c:pt>
                <c:pt idx="57">
                  <c:v>28.98946275035388</c:v>
                </c:pt>
                <c:pt idx="58">
                  <c:v>29.017136869789375</c:v>
                </c:pt>
                <c:pt idx="59">
                  <c:v>29.040715157628458</c:v>
                </c:pt>
                <c:pt idx="60">
                  <c:v>29.060803806111689</c:v>
                </c:pt>
                <c:pt idx="61">
                  <c:v>29.077919289671691</c:v>
                </c:pt>
                <c:pt idx="62">
                  <c:v>29.092501643369459</c:v>
                </c:pt>
                <c:pt idx="63">
                  <c:v>29.104925776092401</c:v>
                </c:pt>
                <c:pt idx="64">
                  <c:v>29.115511109373749</c:v>
                </c:pt>
                <c:pt idx="65">
                  <c:v>29.124529789645109</c:v>
                </c:pt>
                <c:pt idx="66">
                  <c:v>29.132213685057295</c:v>
                </c:pt>
                <c:pt idx="67">
                  <c:v>29.138760346756001</c:v>
                </c:pt>
                <c:pt idx="68">
                  <c:v>29.144338087875344</c:v>
                </c:pt>
                <c:pt idx="69">
                  <c:v>29.149090310828999</c:v>
                </c:pt>
                <c:pt idx="70">
                  <c:v>29.153139194152562</c:v>
                </c:pt>
                <c:pt idx="71">
                  <c:v>29.156588833684985</c:v>
                </c:pt>
                <c:pt idx="72">
                  <c:v>29.159527918848148</c:v>
                </c:pt>
                <c:pt idx="73">
                  <c:v>29.162032012831048</c:v>
                </c:pt>
                <c:pt idx="74">
                  <c:v>29.164165495301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5.074326137953513</c:v>
                </c:pt>
                <c:pt idx="50">
                  <c:v>35.871773883972345</c:v>
                </c:pt>
                <c:pt idx="51">
                  <c:v>36.675641062350834</c:v>
                </c:pt>
                <c:pt idx="52">
                  <c:v>37.486867675800134</c:v>
                </c:pt>
                <c:pt idx="53">
                  <c:v>38.306186645737498</c:v>
                </c:pt>
                <c:pt idx="54">
                  <c:v>39.134180800575727</c:v>
                </c:pt>
                <c:pt idx="55">
                  <c:v>39.97123882406715</c:v>
                </c:pt>
                <c:pt idx="56">
                  <c:v>40.817647665226303</c:v>
                </c:pt>
                <c:pt idx="57">
                  <c:v>41.673644113268281</c:v>
                </c:pt>
                <c:pt idx="58">
                  <c:v>42.539336770798911</c:v>
                </c:pt>
                <c:pt idx="59">
                  <c:v>43.41483547060858</c:v>
                </c:pt>
                <c:pt idx="60">
                  <c:v>44.300251289607012</c:v>
                </c:pt>
                <c:pt idx="61">
                  <c:v>45.19569656291592</c:v>
                </c:pt>
                <c:pt idx="62">
                  <c:v>46.101284898121278</c:v>
                </c:pt>
                <c:pt idx="63">
                  <c:v>47.017131189686971</c:v>
                </c:pt>
                <c:pt idx="64">
                  <c:v>47.943351633531847</c:v>
                </c:pt>
                <c:pt idx="65">
                  <c:v>48.880063741771743</c:v>
                </c:pt>
                <c:pt idx="66">
                  <c:v>49.827386357628605</c:v>
                </c:pt>
                <c:pt idx="67">
                  <c:v>50.785439670508438</c:v>
                </c:pt>
                <c:pt idx="68">
                  <c:v>51.75434523125007</c:v>
                </c:pt>
                <c:pt idx="69">
                  <c:v>52.734225967546642</c:v>
                </c:pt>
                <c:pt idx="70">
                  <c:v>53.725206199541766</c:v>
                </c:pt>
                <c:pt idx="71">
                  <c:v>54.727411655602381</c:v>
                </c:pt>
                <c:pt idx="72">
                  <c:v>55.740969488270231</c:v>
                </c:pt>
                <c:pt idx="73">
                  <c:v>56.766008290394069</c:v>
                </c:pt>
                <c:pt idx="74">
                  <c:v>57.802658111444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4.397929580534644</c:v>
                </c:pt>
                <c:pt idx="50">
                  <c:v>46.266676010166805</c:v>
                </c:pt>
                <c:pt idx="51">
                  <c:v>48.201466717543582</c:v>
                </c:pt>
                <c:pt idx="52">
                  <c:v>50.204146751340765</c:v>
                </c:pt>
                <c:pt idx="53">
                  <c:v>52.276600257807843</c:v>
                </c:pt>
                <c:pt idx="54">
                  <c:v>54.420740409332559</c:v>
                </c:pt>
                <c:pt idx="55">
                  <c:v>56.638488884506984</c:v>
                </c:pt>
                <c:pt idx="56">
                  <c:v>58.9317741690395</c:v>
                </c:pt>
                <c:pt idx="57">
                  <c:v>61.302532651586077</c:v>
                </c:pt>
                <c:pt idx="58">
                  <c:v>63.753381580184289</c:v>
                </c:pt>
                <c:pt idx="59">
                  <c:v>66.287026620382079</c:v>
                </c:pt>
                <c:pt idx="60">
                  <c:v>68.90626484221346</c:v>
                </c:pt>
                <c:pt idx="61">
                  <c:v>71.613987808081944</c:v>
                </c:pt>
                <c:pt idx="62">
                  <c:v>74.413184764960974</c:v>
                </c:pt>
                <c:pt idx="63">
                  <c:v>77.306945944435128</c:v>
                </c:pt>
                <c:pt idx="64">
                  <c:v>80.298465974225437</c:v>
                </c:pt>
                <c:pt idx="65">
                  <c:v>83.391047404964894</c:v>
                </c:pt>
                <c:pt idx="66">
                  <c:v>86.588104356117924</c:v>
                </c:pt>
                <c:pt idx="67">
                  <c:v>89.89316628506829</c:v>
                </c:pt>
                <c:pt idx="68">
                  <c:v>93.309881883536917</c:v>
                </c:pt>
                <c:pt idx="69">
                  <c:v>96.842023105630858</c:v>
                </c:pt>
                <c:pt idx="70">
                  <c:v>100.49348933197025</c:v>
                </c:pt>
                <c:pt idx="71">
                  <c:v>104.26831167449059</c:v>
                </c:pt>
                <c:pt idx="72">
                  <c:v>108.17065742667236</c:v>
                </c:pt>
                <c:pt idx="73">
                  <c:v>112.20483466411119</c:v>
                </c:pt>
                <c:pt idx="74">
                  <c:v>116.37529700050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2.935728502787157</c:v>
                </c:pt>
                <c:pt idx="50">
                  <c:v>78.921909261037825</c:v>
                </c:pt>
                <c:pt idx="51">
                  <c:v>85.351525960539433</c:v>
                </c:pt>
                <c:pt idx="52">
                  <c:v>92.436104153166724</c:v>
                </c:pt>
                <c:pt idx="53">
                  <c:v>100.29792977647968</c:v>
                </c:pt>
                <c:pt idx="54">
                  <c:v>108.94127416201599</c:v>
                </c:pt>
                <c:pt idx="55">
                  <c:v>118.28613374217721</c:v>
                </c:pt>
                <c:pt idx="56">
                  <c:v>128.37581006342376</c:v>
                </c:pt>
                <c:pt idx="57">
                  <c:v>139.55872436069421</c:v>
                </c:pt>
                <c:pt idx="58">
                  <c:v>151.68491607343492</c:v>
                </c:pt>
                <c:pt idx="59">
                  <c:v>164.8303187263997</c:v>
                </c:pt>
                <c:pt idx="60">
                  <c:v>179.05526077911054</c:v>
                </c:pt>
                <c:pt idx="61">
                  <c:v>194.25993891114831</c:v>
                </c:pt>
                <c:pt idx="62">
                  <c:v>210.09351573039385</c:v>
                </c:pt>
                <c:pt idx="63">
                  <c:v>226.06206159195403</c:v>
                </c:pt>
                <c:pt idx="64">
                  <c:v>242.02276841260328</c:v>
                </c:pt>
                <c:pt idx="65">
                  <c:v>258.04025739291069</c:v>
                </c:pt>
                <c:pt idx="66">
                  <c:v>273.80976193854201</c:v>
                </c:pt>
                <c:pt idx="67">
                  <c:v>289.19298471396712</c:v>
                </c:pt>
                <c:pt idx="68">
                  <c:v>304.1979385128385</c:v>
                </c:pt>
                <c:pt idx="69">
                  <c:v>318.76838822676814</c:v>
                </c:pt>
                <c:pt idx="70">
                  <c:v>332.84380465180402</c:v>
                </c:pt>
                <c:pt idx="71">
                  <c:v>346.45286028779731</c:v>
                </c:pt>
                <c:pt idx="72">
                  <c:v>359.56070439659209</c:v>
                </c:pt>
                <c:pt idx="73">
                  <c:v>372.09368627009098</c:v>
                </c:pt>
                <c:pt idx="74">
                  <c:v>384.11379600945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3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3</c:v>
                </c:pt>
                <c:pt idx="18">
                  <c:v>3</c:v>
                </c:pt>
                <c:pt idx="19">
                  <c:v>4</c:v>
                </c:pt>
                <c:pt idx="20">
                  <c:v>6</c:v>
                </c:pt>
                <c:pt idx="21">
                  <c:v>6</c:v>
                </c:pt>
                <c:pt idx="22">
                  <c:v>5</c:v>
                </c:pt>
                <c:pt idx="23">
                  <c:v>6</c:v>
                </c:pt>
                <c:pt idx="24">
                  <c:v>7</c:v>
                </c:pt>
                <c:pt idx="25">
                  <c:v>8</c:v>
                </c:pt>
                <c:pt idx="26">
                  <c:v>12</c:v>
                </c:pt>
                <c:pt idx="27">
                  <c:v>12</c:v>
                </c:pt>
                <c:pt idx="28">
                  <c:v>13</c:v>
                </c:pt>
                <c:pt idx="29">
                  <c:v>11</c:v>
                </c:pt>
                <c:pt idx="30">
                  <c:v>15</c:v>
                </c:pt>
                <c:pt idx="31">
                  <c:v>13</c:v>
                </c:pt>
                <c:pt idx="32">
                  <c:v>12</c:v>
                </c:pt>
                <c:pt idx="33">
                  <c:v>12</c:v>
                </c:pt>
                <c:pt idx="34">
                  <c:v>12</c:v>
                </c:pt>
                <c:pt idx="35">
                  <c:v>12</c:v>
                </c:pt>
                <c:pt idx="36">
                  <c:v>13</c:v>
                </c:pt>
                <c:pt idx="37">
                  <c:v>11</c:v>
                </c:pt>
                <c:pt idx="38">
                  <c:v>14</c:v>
                </c:pt>
                <c:pt idx="39">
                  <c:v>17</c:v>
                </c:pt>
                <c:pt idx="40">
                  <c:v>16</c:v>
                </c:pt>
                <c:pt idx="41">
                  <c:v>18</c:v>
                </c:pt>
                <c:pt idx="42">
                  <c:v>20</c:v>
                </c:pt>
                <c:pt idx="43">
                  <c:v>24</c:v>
                </c:pt>
                <c:pt idx="44">
                  <c:v>22</c:v>
                </c:pt>
                <c:pt idx="45">
                  <c:v>20</c:v>
                </c:pt>
                <c:pt idx="46">
                  <c:v>23</c:v>
                </c:pt>
                <c:pt idx="47">
                  <c:v>25</c:v>
                </c:pt>
                <c:pt idx="48">
                  <c:v>31</c:v>
                </c:pt>
                <c:pt idx="49">
                  <c:v>30</c:v>
                </c:pt>
                <c:pt idx="50">
                  <c:v>35</c:v>
                </c:pt>
                <c:pt idx="51">
                  <c:v>35</c:v>
                </c:pt>
                <c:pt idx="52">
                  <c:v>31</c:v>
                </c:pt>
                <c:pt idx="53">
                  <c:v>36</c:v>
                </c:pt>
                <c:pt idx="54">
                  <c:v>41</c:v>
                </c:pt>
                <c:pt idx="55">
                  <c:v>46</c:v>
                </c:pt>
                <c:pt idx="56">
                  <c:v>50</c:v>
                </c:pt>
                <c:pt idx="57">
                  <c:v>54</c:v>
                </c:pt>
                <c:pt idx="58">
                  <c:v>66</c:v>
                </c:pt>
                <c:pt idx="59">
                  <c:v>67</c:v>
                </c:pt>
                <c:pt idx="60">
                  <c:v>78</c:v>
                </c:pt>
                <c:pt idx="61">
                  <c:v>99</c:v>
                </c:pt>
                <c:pt idx="62">
                  <c:v>110</c:v>
                </c:pt>
                <c:pt idx="63">
                  <c:v>119</c:v>
                </c:pt>
                <c:pt idx="64">
                  <c:v>130</c:v>
                </c:pt>
                <c:pt idx="65">
                  <c:v>134</c:v>
                </c:pt>
                <c:pt idx="66">
                  <c:v>132</c:v>
                </c:pt>
                <c:pt idx="67">
                  <c:v>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.45791652150184</c:v>
                </c:pt>
                <c:pt idx="50">
                  <c:v>11.497748576231782</c:v>
                </c:pt>
                <c:pt idx="51">
                  <c:v>11.531530152669649</c:v>
                </c:pt>
                <c:pt idx="52">
                  <c:v>11.560224629937137</c:v>
                </c:pt>
                <c:pt idx="53">
                  <c:v>11.584703574207602</c:v>
                </c:pt>
                <c:pt idx="54">
                  <c:v>11.605644084923686</c:v>
                </c:pt>
                <c:pt idx="55">
                  <c:v>11.623560133678449</c:v>
                </c:pt>
                <c:pt idx="56">
                  <c:v>11.638883526632993</c:v>
                </c:pt>
                <c:pt idx="57">
                  <c:v>11.651939023144662</c:v>
                </c:pt>
                <c:pt idx="58">
                  <c:v>11.66306227696135</c:v>
                </c:pt>
                <c:pt idx="59">
                  <c:v>11.672539264325243</c:v>
                </c:pt>
                <c:pt idx="60">
                  <c:v>11.680613636354822</c:v>
                </c:pt>
                <c:pt idx="61">
                  <c:v>11.687492983257874</c:v>
                </c:pt>
                <c:pt idx="62">
                  <c:v>11.693354171426952</c:v>
                </c:pt>
                <c:pt idx="63">
                  <c:v>11.698347890632785</c:v>
                </c:pt>
                <c:pt idx="64">
                  <c:v>11.702602528222867</c:v>
                </c:pt>
                <c:pt idx="65">
                  <c:v>11.706227469929999</c:v>
                </c:pt>
                <c:pt idx="66">
                  <c:v>11.709315912153784</c:v>
                </c:pt>
                <c:pt idx="67">
                  <c:v>11.711947258018155</c:v>
                </c:pt>
                <c:pt idx="68">
                  <c:v>11.714189158807043</c:v>
                </c:pt>
                <c:pt idx="69">
                  <c:v>11.716099253262991</c:v>
                </c:pt>
                <c:pt idx="70">
                  <c:v>11.717726649465682</c:v>
                </c:pt>
                <c:pt idx="71">
                  <c:v>11.719113187389127</c:v>
                </c:pt>
                <c:pt idx="72">
                  <c:v>11.720294514597564</c:v>
                </c:pt>
                <c:pt idx="73">
                  <c:v>11.72130100273597</c:v>
                </c:pt>
                <c:pt idx="74">
                  <c:v>11.722158528377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4.097671038499479</c:v>
                </c:pt>
                <c:pt idx="50">
                  <c:v>14.418194829877509</c:v>
                </c:pt>
                <c:pt idx="51">
                  <c:v>14.741298828935207</c:v>
                </c:pt>
                <c:pt idx="52">
                  <c:v>15.06736085758553</c:v>
                </c:pt>
                <c:pt idx="53">
                  <c:v>15.396675504097885</c:v>
                </c:pt>
                <c:pt idx="54">
                  <c:v>15.72947702880284</c:v>
                </c:pt>
                <c:pt idx="55">
                  <c:v>16.065921658099636</c:v>
                </c:pt>
                <c:pt idx="56">
                  <c:v>16.406124727427528</c:v>
                </c:pt>
                <c:pt idx="57">
                  <c:v>16.750181411144158</c:v>
                </c:pt>
                <c:pt idx="58">
                  <c:v>17.098135360660102</c:v>
                </c:pt>
                <c:pt idx="59">
                  <c:v>17.450030721842676</c:v>
                </c:pt>
                <c:pt idx="60">
                  <c:v>17.805912140616865</c:v>
                </c:pt>
                <c:pt idx="61">
                  <c:v>18.165824768629651</c:v>
                </c:pt>
                <c:pt idx="62">
                  <c:v>18.529814268978534</c:v>
                </c:pt>
                <c:pt idx="63">
                  <c:v>18.897926822004941</c:v>
                </c:pt>
                <c:pt idx="64">
                  <c:v>19.270209131153241</c:v>
                </c:pt>
                <c:pt idx="65">
                  <c:v>19.646708428896154</c:v>
                </c:pt>
                <c:pt idx="66">
                  <c:v>20.027472482727241</c:v>
                </c:pt>
                <c:pt idx="67">
                  <c:v>20.412549601221315</c:v>
                </c:pt>
                <c:pt idx="68">
                  <c:v>20.801988640163472</c:v>
                </c:pt>
                <c:pt idx="69">
                  <c:v>21.195839008747566</c:v>
                </c:pt>
                <c:pt idx="70">
                  <c:v>21.59415067584488</c:v>
                </c:pt>
                <c:pt idx="71">
                  <c:v>21.996974176343819</c:v>
                </c:pt>
                <c:pt idx="72">
                  <c:v>22.404360617561405</c:v>
                </c:pt>
                <c:pt idx="73">
                  <c:v>22.816361685727404</c:v>
                </c:pt>
                <c:pt idx="74">
                  <c:v>23.233029652541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7.84517266433112</c:v>
                </c:pt>
                <c:pt idx="50">
                  <c:v>18.59629108398957</c:v>
                </c:pt>
                <c:pt idx="51">
                  <c:v>19.373955145550209</c:v>
                </c:pt>
                <c:pt idx="52">
                  <c:v>20.178906442427529</c:v>
                </c:pt>
                <c:pt idx="53">
                  <c:v>21.011902282799287</c:v>
                </c:pt>
                <c:pt idx="54">
                  <c:v>21.873711641523506</c:v>
                </c:pt>
                <c:pt idx="55">
                  <c:v>22.765106912416858</c:v>
                </c:pt>
                <c:pt idx="56">
                  <c:v>23.686863225328231</c:v>
                </c:pt>
                <c:pt idx="57">
                  <c:v>24.639758886593928</c:v>
                </c:pt>
                <c:pt idx="58">
                  <c:v>25.624845865158825</c:v>
                </c:pt>
                <c:pt idx="59">
                  <c:v>26.643211668240749</c:v>
                </c:pt>
                <c:pt idx="60">
                  <c:v>27.695980541906625</c:v>
                </c:pt>
                <c:pt idx="61">
                  <c:v>28.784314712207276</c:v>
                </c:pt>
                <c:pt idx="62">
                  <c:v>29.909415668240982</c:v>
                </c:pt>
                <c:pt idx="63">
                  <c:v>31.072525488562317</c:v>
                </c:pt>
                <c:pt idx="64">
                  <c:v>32.274928212400546</c:v>
                </c:pt>
                <c:pt idx="65">
                  <c:v>33.517951257201396</c:v>
                </c:pt>
                <c:pt idx="66">
                  <c:v>34.802966884057092</c:v>
                </c:pt>
                <c:pt idx="67">
                  <c:v>36.13139371264247</c:v>
                </c:pt>
                <c:pt idx="68">
                  <c:v>37.504698287329617</c:v>
                </c:pt>
                <c:pt idx="69">
                  <c:v>38.924396696209989</c:v>
                </c:pt>
                <c:pt idx="70">
                  <c:v>40.392056244811293</c:v>
                </c:pt>
                <c:pt idx="71">
                  <c:v>41.909297186357001</c:v>
                </c:pt>
                <c:pt idx="72">
                  <c:v>43.477794510478489</c:v>
                </c:pt>
                <c:pt idx="73">
                  <c:v>45.099279792354636</c:v>
                </c:pt>
                <c:pt idx="74">
                  <c:v>46.775543104320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9.13386737301456</c:v>
                </c:pt>
                <c:pt idx="50">
                  <c:v>31.372005026136002</c:v>
                </c:pt>
                <c:pt idx="51">
                  <c:v>33.771579639119551</c:v>
                </c:pt>
                <c:pt idx="52">
                  <c:v>36.403162662074422</c:v>
                </c:pt>
                <c:pt idx="53">
                  <c:v>39.328049599542759</c:v>
                </c:pt>
                <c:pt idx="54">
                  <c:v>42.548492922984323</c:v>
                </c:pt>
                <c:pt idx="55">
                  <c:v>46.012827405400849</c:v>
                </c:pt>
                <c:pt idx="56">
                  <c:v>49.746091841423343</c:v>
                </c:pt>
                <c:pt idx="57">
                  <c:v>53.910056221443327</c:v>
                </c:pt>
                <c:pt idx="58">
                  <c:v>58.437607506128273</c:v>
                </c:pt>
                <c:pt idx="59">
                  <c:v>63.371769112034443</c:v>
                </c:pt>
                <c:pt idx="60">
                  <c:v>68.720667208745482</c:v>
                </c:pt>
                <c:pt idx="61">
                  <c:v>74.434788930830962</c:v>
                </c:pt>
                <c:pt idx="62">
                  <c:v>80.407130346036467</c:v>
                </c:pt>
                <c:pt idx="63">
                  <c:v>86.433372867643186</c:v>
                </c:pt>
                <c:pt idx="64">
                  <c:v>92.472498973558217</c:v>
                </c:pt>
                <c:pt idx="65">
                  <c:v>98.58280893280849</c:v>
                </c:pt>
                <c:pt idx="66">
                  <c:v>104.62625471229597</c:v>
                </c:pt>
                <c:pt idx="67">
                  <c:v>110.53490881151238</c:v>
                </c:pt>
                <c:pt idx="68">
                  <c:v>116.32292443756833</c:v>
                </c:pt>
                <c:pt idx="69">
                  <c:v>121.96839392868486</c:v>
                </c:pt>
                <c:pt idx="70">
                  <c:v>127.44402868760048</c:v>
                </c:pt>
                <c:pt idx="71">
                  <c:v>132.76413710397225</c:v>
                </c:pt>
                <c:pt idx="72">
                  <c:v>137.91341882526623</c:v>
                </c:pt>
                <c:pt idx="73">
                  <c:v>142.85273384905435</c:v>
                </c:pt>
                <c:pt idx="74">
                  <c:v>147.60751082212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3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6</c:v>
                </c:pt>
                <c:pt idx="11">
                  <c:v>8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6</c:v>
                </c:pt>
                <c:pt idx="22">
                  <c:v>7</c:v>
                </c:pt>
                <c:pt idx="23">
                  <c:v>6</c:v>
                </c:pt>
                <c:pt idx="24">
                  <c:v>6</c:v>
                </c:pt>
                <c:pt idx="25">
                  <c:v>5</c:v>
                </c:pt>
                <c:pt idx="26">
                  <c:v>6</c:v>
                </c:pt>
                <c:pt idx="27">
                  <c:v>7</c:v>
                </c:pt>
                <c:pt idx="28">
                  <c:v>6</c:v>
                </c:pt>
                <c:pt idx="29">
                  <c:v>5</c:v>
                </c:pt>
                <c:pt idx="30">
                  <c:v>5</c:v>
                </c:pt>
                <c:pt idx="31">
                  <c:v>6</c:v>
                </c:pt>
                <c:pt idx="32">
                  <c:v>5</c:v>
                </c:pt>
                <c:pt idx="33">
                  <c:v>4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5</c:v>
                </c:pt>
                <c:pt idx="42">
                  <c:v>6</c:v>
                </c:pt>
                <c:pt idx="43">
                  <c:v>8</c:v>
                </c:pt>
                <c:pt idx="44">
                  <c:v>9</c:v>
                </c:pt>
                <c:pt idx="45">
                  <c:v>8</c:v>
                </c:pt>
                <c:pt idx="46">
                  <c:v>8</c:v>
                </c:pt>
                <c:pt idx="47">
                  <c:v>11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7</c:v>
                </c:pt>
                <c:pt idx="55">
                  <c:v>14</c:v>
                </c:pt>
                <c:pt idx="56">
                  <c:v>12</c:v>
                </c:pt>
                <c:pt idx="57">
                  <c:v>13</c:v>
                </c:pt>
                <c:pt idx="58">
                  <c:v>10</c:v>
                </c:pt>
                <c:pt idx="59">
                  <c:v>12</c:v>
                </c:pt>
                <c:pt idx="60">
                  <c:v>14</c:v>
                </c:pt>
                <c:pt idx="61">
                  <c:v>11</c:v>
                </c:pt>
                <c:pt idx="62">
                  <c:v>16</c:v>
                </c:pt>
                <c:pt idx="63">
                  <c:v>19</c:v>
                </c:pt>
                <c:pt idx="64">
                  <c:v>19</c:v>
                </c:pt>
                <c:pt idx="65">
                  <c:v>21</c:v>
                </c:pt>
                <c:pt idx="66">
                  <c:v>25</c:v>
                </c:pt>
                <c:pt idx="67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4.9696987322176644</c:v>
                </c:pt>
                <c:pt idx="50">
                  <c:v>4.9869752860764347</c:v>
                </c:pt>
                <c:pt idx="51">
                  <c:v>5.0016275360976783</c:v>
                </c:pt>
                <c:pt idx="52">
                  <c:v>5.0140733334667091</c:v>
                </c:pt>
                <c:pt idx="53">
                  <c:v>5.0246907068852238</c:v>
                </c:pt>
                <c:pt idx="54">
                  <c:v>5.0337733380391878</c:v>
                </c:pt>
                <c:pt idx="55">
                  <c:v>5.0415441543665551</c:v>
                </c:pt>
                <c:pt idx="56">
                  <c:v>5.0481904452865978</c:v>
                </c:pt>
                <c:pt idx="57">
                  <c:v>5.0538530702796116</c:v>
                </c:pt>
                <c:pt idx="58">
                  <c:v>5.0586776141037166</c:v>
                </c:pt>
                <c:pt idx="59">
                  <c:v>5.0627881146470921</c:v>
                </c:pt>
                <c:pt idx="60">
                  <c:v>5.0662902519129345</c:v>
                </c:pt>
                <c:pt idx="61">
                  <c:v>5.0692740650275105</c:v>
                </c:pt>
                <c:pt idx="62">
                  <c:v>5.0718162671249418</c:v>
                </c:pt>
                <c:pt idx="63">
                  <c:v>5.0739822176238576</c:v>
                </c:pt>
                <c:pt idx="64">
                  <c:v>5.0758276026026881</c:v>
                </c:pt>
                <c:pt idx="65">
                  <c:v>5.0773998664756617</c:v>
                </c:pt>
                <c:pt idx="66">
                  <c:v>5.0787394317775432</c:v>
                </c:pt>
                <c:pt idx="67">
                  <c:v>5.0798807384175113</c:v>
                </c:pt>
                <c:pt idx="68">
                  <c:v>5.0808531291211256</c:v>
                </c:pt>
                <c:pt idx="69">
                  <c:v>5.0816816038249106</c:v>
                </c:pt>
                <c:pt idx="70">
                  <c:v>5.0823874624188488</c:v>
                </c:pt>
                <c:pt idx="71">
                  <c:v>5.0829888523615478</c:v>
                </c:pt>
                <c:pt idx="72">
                  <c:v>5.0835012352471347</c:v>
                </c:pt>
                <c:pt idx="73">
                  <c:v>5.0839377843192146</c:v>
                </c:pt>
                <c:pt idx="74">
                  <c:v>5.0843097231518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.1146524986262785</c:v>
                </c:pt>
                <c:pt idx="50">
                  <c:v>6.2536748659709671</c:v>
                </c:pt>
                <c:pt idx="51">
                  <c:v>6.3938163595381603</c:v>
                </c:pt>
                <c:pt idx="52">
                  <c:v>6.5352408538925175</c:v>
                </c:pt>
                <c:pt idx="53">
                  <c:v>6.6780761222593226</c:v>
                </c:pt>
                <c:pt idx="54">
                  <c:v>6.8224237715289417</c:v>
                </c:pt>
                <c:pt idx="55">
                  <c:v>6.9683515625492376</c:v>
                </c:pt>
                <c:pt idx="56">
                  <c:v>7.1159095203300105</c:v>
                </c:pt>
                <c:pt idx="57">
                  <c:v>7.2651389253155365</c:v>
                </c:pt>
                <c:pt idx="58">
                  <c:v>7.4160587106477527</c:v>
                </c:pt>
                <c:pt idx="59">
                  <c:v>7.5686880239317622</c:v>
                </c:pt>
                <c:pt idx="60">
                  <c:v>7.7230462296651448</c:v>
                </c:pt>
                <c:pt idx="61">
                  <c:v>7.8791529116947858</c:v>
                </c:pt>
                <c:pt idx="62">
                  <c:v>8.037027875701531</c:v>
                </c:pt>
                <c:pt idx="63">
                  <c:v>8.1966911517129848</c:v>
                </c:pt>
                <c:pt idx="64">
                  <c:v>8.3581629966447775</c:v>
                </c:pt>
                <c:pt idx="65">
                  <c:v>8.5214638968706193</c:v>
                </c:pt>
                <c:pt idx="66">
                  <c:v>8.6866145708214528</c:v>
                </c:pt>
                <c:pt idx="67">
                  <c:v>8.8536359716140627</c:v>
                </c:pt>
                <c:pt idx="68">
                  <c:v>9.0225492897094561</c:v>
                </c:pt>
                <c:pt idx="69">
                  <c:v>9.1933759556013523</c:v>
                </c:pt>
                <c:pt idx="70">
                  <c:v>9.3661376425351275</c:v>
                </c:pt>
                <c:pt idx="71">
                  <c:v>9.5408562692575583</c:v>
                </c:pt>
                <c:pt idx="72">
                  <c:v>9.7175540027977156</c:v>
                </c:pt>
                <c:pt idx="73">
                  <c:v>9.8962532612793552</c:v>
                </c:pt>
                <c:pt idx="74">
                  <c:v>10.076976716765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.7400748905532559</c:v>
                </c:pt>
                <c:pt idx="50">
                  <c:v>8.0658611930557154</c:v>
                </c:pt>
                <c:pt idx="51">
                  <c:v>8.4031612679494874</c:v>
                </c:pt>
                <c:pt idx="52">
                  <c:v>8.7522967702095293</c:v>
                </c:pt>
                <c:pt idx="53">
                  <c:v>9.1135961708527002</c:v>
                </c:pt>
                <c:pt idx="54">
                  <c:v>9.4873930011427241</c:v>
                </c:pt>
                <c:pt idx="55">
                  <c:v>9.8740222752651405</c:v>
                </c:pt>
                <c:pt idx="56">
                  <c:v>10.273820194118267</c:v>
                </c:pt>
                <c:pt idx="57">
                  <c:v>10.687124336353991</c:v>
                </c:pt>
                <c:pt idx="58">
                  <c:v>11.114390977659248</c:v>
                </c:pt>
                <c:pt idx="59">
                  <c:v>11.556091807911647</c:v>
                </c:pt>
                <c:pt idx="60">
                  <c:v>12.012714451911306</c:v>
                </c:pt>
                <c:pt idx="61">
                  <c:v>12.484763007704359</c:v>
                </c:pt>
                <c:pt idx="62">
                  <c:v>12.972758603092471</c:v>
                </c:pt>
                <c:pt idx="63">
                  <c:v>13.477239970942689</c:v>
                </c:pt>
                <c:pt idx="64">
                  <c:v>13.998764043932765</c:v>
                </c:pt>
                <c:pt idx="65">
                  <c:v>14.537906569388555</c:v>
                </c:pt>
                <c:pt idx="66">
                  <c:v>15.09526274489223</c:v>
                </c:pt>
                <c:pt idx="67">
                  <c:v>15.671447875362997</c:v>
                </c:pt>
                <c:pt idx="68">
                  <c:v>16.267098052335736</c:v>
                </c:pt>
                <c:pt idx="69">
                  <c:v>16.882870856187463</c:v>
                </c:pt>
                <c:pt idx="70">
                  <c:v>17.519446082086823</c:v>
                </c:pt>
                <c:pt idx="71">
                  <c:v>18.177526490468093</c:v>
                </c:pt>
                <c:pt idx="72">
                  <c:v>18.857838582858136</c:v>
                </c:pt>
                <c:pt idx="73">
                  <c:v>19.561133403912848</c:v>
                </c:pt>
                <c:pt idx="74">
                  <c:v>20.288187370548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2.698984448793308</c:v>
                </c:pt>
                <c:pt idx="50">
                  <c:v>13.727605284413912</c:v>
                </c:pt>
                <c:pt idx="51">
                  <c:v>14.832034360228675</c:v>
                </c:pt>
                <c:pt idx="52">
                  <c:v>16.047859384469447</c:v>
                </c:pt>
                <c:pt idx="53">
                  <c:v>17.397481911082451</c:v>
                </c:pt>
                <c:pt idx="54">
                  <c:v>18.88169434585917</c:v>
                </c:pt>
                <c:pt idx="55">
                  <c:v>20.484809674140823</c:v>
                </c:pt>
                <c:pt idx="56">
                  <c:v>22.215057607396176</c:v>
                </c:pt>
                <c:pt idx="57">
                  <c:v>24.135117287900044</c:v>
                </c:pt>
                <c:pt idx="58">
                  <c:v>26.21823567519688</c:v>
                </c:pt>
                <c:pt idx="59">
                  <c:v>28.478765498336074</c:v>
                </c:pt>
                <c:pt idx="60">
                  <c:v>30.925786413296997</c:v>
                </c:pt>
                <c:pt idx="61">
                  <c:v>33.541061226794078</c:v>
                </c:pt>
                <c:pt idx="62">
                  <c:v>36.26645983310695</c:v>
                </c:pt>
                <c:pt idx="63">
                  <c:v>39.015357123482907</c:v>
                </c:pt>
                <c:pt idx="64">
                  <c:v>41.764317636152761</c:v>
                </c:pt>
                <c:pt idx="65">
                  <c:v>44.527489714813299</c:v>
                </c:pt>
                <c:pt idx="66">
                  <c:v>47.250355403063267</c:v>
                </c:pt>
                <c:pt idx="67">
                  <c:v>49.907704298112037</c:v>
                </c:pt>
                <c:pt idx="68">
                  <c:v>52.501908193736554</c:v>
                </c:pt>
                <c:pt idx="69">
                  <c:v>55.023225393694517</c:v>
                </c:pt>
                <c:pt idx="70">
                  <c:v>57.46083966868914</c:v>
                </c:pt>
                <c:pt idx="71">
                  <c:v>59.819997858660926</c:v>
                </c:pt>
                <c:pt idx="72">
                  <c:v>62.094509029545961</c:v>
                </c:pt>
                <c:pt idx="73">
                  <c:v>64.270682900398214</c:v>
                </c:pt>
                <c:pt idx="74">
                  <c:v>66.359372165952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0</c:v>
                </c:pt>
                <c:pt idx="1">
                  <c:v>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3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13</c:v>
                </c:pt>
                <c:pt idx="10">
                  <c:v>11</c:v>
                </c:pt>
                <c:pt idx="11">
                  <c:v>10</c:v>
                </c:pt>
                <c:pt idx="12">
                  <c:v>15</c:v>
                </c:pt>
                <c:pt idx="13">
                  <c:v>15</c:v>
                </c:pt>
                <c:pt idx="14">
                  <c:v>13</c:v>
                </c:pt>
                <c:pt idx="15">
                  <c:v>15</c:v>
                </c:pt>
                <c:pt idx="16">
                  <c:v>12</c:v>
                </c:pt>
                <c:pt idx="17">
                  <c:v>8</c:v>
                </c:pt>
                <c:pt idx="18">
                  <c:v>7</c:v>
                </c:pt>
                <c:pt idx="19">
                  <c:v>11</c:v>
                </c:pt>
                <c:pt idx="20">
                  <c:v>9</c:v>
                </c:pt>
                <c:pt idx="21">
                  <c:v>11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3</c:v>
                </c:pt>
                <c:pt idx="27">
                  <c:v>12</c:v>
                </c:pt>
                <c:pt idx="28">
                  <c:v>13</c:v>
                </c:pt>
                <c:pt idx="29">
                  <c:v>17</c:v>
                </c:pt>
                <c:pt idx="30">
                  <c:v>3</c:v>
                </c:pt>
                <c:pt idx="31">
                  <c:v>2</c:v>
                </c:pt>
                <c:pt idx="32">
                  <c:v>2</c:v>
                </c:pt>
                <c:pt idx="33">
                  <c:v>20</c:v>
                </c:pt>
                <c:pt idx="34">
                  <c:v>16</c:v>
                </c:pt>
                <c:pt idx="35">
                  <c:v>20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23</c:v>
                </c:pt>
                <c:pt idx="41">
                  <c:v>22</c:v>
                </c:pt>
                <c:pt idx="42">
                  <c:v>21</c:v>
                </c:pt>
                <c:pt idx="43">
                  <c:v>25</c:v>
                </c:pt>
                <c:pt idx="44">
                  <c:v>27</c:v>
                </c:pt>
                <c:pt idx="45">
                  <c:v>5</c:v>
                </c:pt>
                <c:pt idx="46">
                  <c:v>5</c:v>
                </c:pt>
                <c:pt idx="47">
                  <c:v>7</c:v>
                </c:pt>
                <c:pt idx="48">
                  <c:v>6</c:v>
                </c:pt>
                <c:pt idx="49">
                  <c:v>30</c:v>
                </c:pt>
                <c:pt idx="50">
                  <c:v>34</c:v>
                </c:pt>
                <c:pt idx="51">
                  <c:v>43</c:v>
                </c:pt>
                <c:pt idx="52">
                  <c:v>39</c:v>
                </c:pt>
                <c:pt idx="53">
                  <c:v>43</c:v>
                </c:pt>
                <c:pt idx="54">
                  <c:v>54</c:v>
                </c:pt>
                <c:pt idx="55">
                  <c:v>60</c:v>
                </c:pt>
                <c:pt idx="56">
                  <c:v>65</c:v>
                </c:pt>
                <c:pt idx="57">
                  <c:v>66</c:v>
                </c:pt>
                <c:pt idx="58">
                  <c:v>76</c:v>
                </c:pt>
                <c:pt idx="59">
                  <c:v>76</c:v>
                </c:pt>
                <c:pt idx="60">
                  <c:v>89</c:v>
                </c:pt>
                <c:pt idx="61">
                  <c:v>117</c:v>
                </c:pt>
                <c:pt idx="62">
                  <c:v>117</c:v>
                </c:pt>
                <c:pt idx="63">
                  <c:v>130</c:v>
                </c:pt>
                <c:pt idx="64">
                  <c:v>132</c:v>
                </c:pt>
                <c:pt idx="65">
                  <c:v>137</c:v>
                </c:pt>
                <c:pt idx="66">
                  <c:v>124</c:v>
                </c:pt>
                <c:pt idx="67">
                  <c:v>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2.286199643538117</c:v>
                </c:pt>
                <c:pt idx="50">
                  <c:v>12.328911123911185</c:v>
                </c:pt>
                <c:pt idx="51">
                  <c:v>12.365134742019261</c:v>
                </c:pt>
                <c:pt idx="52">
                  <c:v>12.395903518848254</c:v>
                </c:pt>
                <c:pt idx="53">
                  <c:v>12.422152025355137</c:v>
                </c:pt>
                <c:pt idx="54">
                  <c:v>12.444606307930215</c:v>
                </c:pt>
                <c:pt idx="55">
                  <c:v>12.46381749273954</c:v>
                </c:pt>
                <c:pt idx="56">
                  <c:v>12.480248600847423</c:v>
                </c:pt>
                <c:pt idx="57">
                  <c:v>12.494247868191263</c:v>
                </c:pt>
                <c:pt idx="58">
                  <c:v>12.506175212645301</c:v>
                </c:pt>
                <c:pt idx="59">
                  <c:v>12.51633728343309</c:v>
                </c:pt>
                <c:pt idx="60">
                  <c:v>12.524995345006976</c:v>
                </c:pt>
                <c:pt idx="61">
                  <c:v>12.532371994095792</c:v>
                </c:pt>
                <c:pt idx="62">
                  <c:v>12.538656882614442</c:v>
                </c:pt>
                <c:pt idx="63">
                  <c:v>12.544011593570092</c:v>
                </c:pt>
                <c:pt idx="64">
                  <c:v>12.548573795323312</c:v>
                </c:pt>
                <c:pt idx="65">
                  <c:v>12.552460781009275</c:v>
                </c:pt>
                <c:pt idx="66">
                  <c:v>12.555772484116705</c:v>
                </c:pt>
                <c:pt idx="67">
                  <c:v>12.558594047754404</c:v>
                </c:pt>
                <c:pt idx="68">
                  <c:v>12.560998013660562</c:v>
                </c:pt>
                <c:pt idx="69">
                  <c:v>12.563046187233809</c:v>
                </c:pt>
                <c:pt idx="70">
                  <c:v>12.564791226535489</c:v>
                </c:pt>
                <c:pt idx="71">
                  <c:v>12.56627799611605</c:v>
                </c:pt>
                <c:pt idx="72">
                  <c:v>12.567544720472085</c:v>
                </c:pt>
                <c:pt idx="73">
                  <c:v>12.56862396678917</c:v>
                </c:pt>
                <c:pt idx="74">
                  <c:v>12.5695434822365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5.116779788270524</c:v>
                </c:pt>
                <c:pt idx="50">
                  <c:v>15.460473974206002</c:v>
                </c:pt>
                <c:pt idx="51">
                  <c:v>15.806934888858232</c:v>
                </c:pt>
                <c:pt idx="52">
                  <c:v>16.156567666567614</c:v>
                </c:pt>
                <c:pt idx="53">
                  <c:v>16.509688191141105</c:v>
                </c:pt>
                <c:pt idx="54">
                  <c:v>16.866547657390996</c:v>
                </c:pt>
                <c:pt idx="55">
                  <c:v>17.227313585191173</c:v>
                </c:pt>
                <c:pt idx="56">
                  <c:v>17.592109647482527</c:v>
                </c:pt>
                <c:pt idx="57">
                  <c:v>17.961037898696745</c:v>
                </c:pt>
                <c:pt idx="58">
                  <c:v>18.334145145768058</c:v>
                </c:pt>
                <c:pt idx="59">
                  <c:v>18.711478725831302</c:v>
                </c:pt>
                <c:pt idx="60">
                  <c:v>19.093086512227721</c:v>
                </c:pt>
                <c:pt idx="61">
                  <c:v>19.479016920578779</c:v>
                </c:pt>
                <c:pt idx="62">
                  <c:v>19.869318914928787</c:v>
                </c:pt>
                <c:pt idx="63">
                  <c:v>20.264042013957102</c:v>
                </c:pt>
                <c:pt idx="64">
                  <c:v>20.663236297260703</c:v>
                </c:pt>
                <c:pt idx="65">
                  <c:v>21.06695241170792</c:v>
                </c:pt>
                <c:pt idx="66">
                  <c:v>21.475241577864146</c:v>
                </c:pt>
                <c:pt idx="67">
                  <c:v>21.888155596490325</c:v>
                </c:pt>
                <c:pt idx="68">
                  <c:v>22.305746855115046</c:v>
                </c:pt>
                <c:pt idx="69">
                  <c:v>22.728068334681122</c:v>
                </c:pt>
                <c:pt idx="70">
                  <c:v>23.155173616267398</c:v>
                </c:pt>
                <c:pt idx="71">
                  <c:v>23.587116887886744</c:v>
                </c:pt>
                <c:pt idx="72">
                  <c:v>24.023952951361021</c:v>
                </c:pt>
                <c:pt idx="73">
                  <c:v>24.465737229273962</c:v>
                </c:pt>
                <c:pt idx="74">
                  <c:v>24.9125257720027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9.135185146089995</c:v>
                </c:pt>
                <c:pt idx="50">
                  <c:v>19.940601282832187</c:v>
                </c:pt>
                <c:pt idx="51">
                  <c:v>20.77448202354179</c:v>
                </c:pt>
                <c:pt idx="52">
                  <c:v>21.637622570795781</c:v>
                </c:pt>
                <c:pt idx="53">
                  <c:v>22.530834977941399</c:v>
                </c:pt>
                <c:pt idx="54">
                  <c:v>23.454943808380623</c:v>
                </c:pt>
                <c:pt idx="55">
                  <c:v>24.410777291627713</c:v>
                </c:pt>
                <c:pt idx="56">
                  <c:v>25.399166591014609</c:v>
                </c:pt>
                <c:pt idx="57">
                  <c:v>26.420946275986257</c:v>
                </c:pt>
                <c:pt idx="58">
                  <c:v>27.477244361435364</c:v>
                </c:pt>
                <c:pt idx="59">
                  <c:v>28.569226969559352</c:v>
                </c:pt>
                <c:pt idx="60">
                  <c:v>29.698099617225175</c:v>
                </c:pt>
                <c:pt idx="61">
                  <c:v>30.865108546824668</c:v>
                </c:pt>
                <c:pt idx="62">
                  <c:v>32.071542102089722</c:v>
                </c:pt>
                <c:pt idx="63">
                  <c:v>33.31873215038609</c:v>
                </c:pt>
                <c:pt idx="64">
                  <c:v>34.608055553056005</c:v>
                </c:pt>
                <c:pt idx="65">
                  <c:v>35.940935685432819</c:v>
                </c:pt>
                <c:pt idx="66">
                  <c:v>37.318844008205794</c:v>
                </c:pt>
                <c:pt idx="67">
                  <c:v>38.743301691869632</c:v>
                </c:pt>
                <c:pt idx="68">
                  <c:v>40.215881296052238</c:v>
                </c:pt>
                <c:pt idx="69">
                  <c:v>41.738208505574562</c:v>
                </c:pt>
                <c:pt idx="70">
                  <c:v>43.311963925159098</c:v>
                </c:pt>
                <c:pt idx="71">
                  <c:v>44.938884934768346</c:v>
                </c:pt>
                <c:pt idx="72">
                  <c:v>46.620767607621509</c:v>
                </c:pt>
                <c:pt idx="73">
                  <c:v>48.359468693006768</c:v>
                </c:pt>
                <c:pt idx="74">
                  <c:v>50.156907666078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1.431057863662719</c:v>
                </c:pt>
                <c:pt idx="50">
                  <c:v>34.00762829571854</c:v>
                </c:pt>
                <c:pt idx="51">
                  <c:v>36.774973329648802</c:v>
                </c:pt>
                <c:pt idx="52">
                  <c:v>39.823963829524679</c:v>
                </c:pt>
                <c:pt idx="53">
                  <c:v>43.207552193899211</c:v>
                </c:pt>
                <c:pt idx="54">
                  <c:v>46.927590276655565</c:v>
                </c:pt>
                <c:pt idx="55">
                  <c:v>50.949198651352958</c:v>
                </c:pt>
                <c:pt idx="56">
                  <c:v>55.291195901357021</c:v>
                </c:pt>
                <c:pt idx="57">
                  <c:v>60.104192815935747</c:v>
                </c:pt>
                <c:pt idx="58">
                  <c:v>65.323417809069923</c:v>
                </c:pt>
                <c:pt idx="59">
                  <c:v>70.981853051842222</c:v>
                </c:pt>
                <c:pt idx="60">
                  <c:v>77.105170376999524</c:v>
                </c:pt>
                <c:pt idx="61">
                  <c:v>83.650163318876764</c:v>
                </c:pt>
                <c:pt idx="62">
                  <c:v>90.46631818036289</c:v>
                </c:pt>
                <c:pt idx="63">
                  <c:v>97.340636611729508</c:v>
                </c:pt>
                <c:pt idx="64">
                  <c:v>104.21190397745528</c:v>
                </c:pt>
                <c:pt idx="65">
                  <c:v>111.10863182017371</c:v>
                </c:pt>
                <c:pt idx="66">
                  <c:v>117.89915031968455</c:v>
                </c:pt>
                <c:pt idx="67">
                  <c:v>124.52360226927536</c:v>
                </c:pt>
                <c:pt idx="68">
                  <c:v>130.98566442369776</c:v>
                </c:pt>
                <c:pt idx="69">
                  <c:v>137.26111406153768</c:v>
                </c:pt>
                <c:pt idx="70">
                  <c:v>143.32380308403651</c:v>
                </c:pt>
                <c:pt idx="71">
                  <c:v>149.18614599078722</c:v>
                </c:pt>
                <c:pt idx="72">
                  <c:v>154.83309596632867</c:v>
                </c:pt>
                <c:pt idx="73">
                  <c:v>160.23271529509884</c:v>
                </c:pt>
                <c:pt idx="74">
                  <c:v>165.411731728859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4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1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4</c:v>
                </c:pt>
                <c:pt idx="33">
                  <c:v>5</c:v>
                </c:pt>
                <c:pt idx="34">
                  <c:v>6</c:v>
                </c:pt>
                <c:pt idx="35">
                  <c:v>7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7</c:v>
                </c:pt>
                <c:pt idx="41">
                  <c:v>5</c:v>
                </c:pt>
                <c:pt idx="42">
                  <c:v>7</c:v>
                </c:pt>
                <c:pt idx="43">
                  <c:v>9</c:v>
                </c:pt>
                <c:pt idx="44">
                  <c:v>9</c:v>
                </c:pt>
                <c:pt idx="45">
                  <c:v>9</c:v>
                </c:pt>
                <c:pt idx="46">
                  <c:v>10</c:v>
                </c:pt>
                <c:pt idx="47">
                  <c:v>19</c:v>
                </c:pt>
                <c:pt idx="48">
                  <c:v>20</c:v>
                </c:pt>
                <c:pt idx="49">
                  <c:v>22</c:v>
                </c:pt>
                <c:pt idx="50">
                  <c:v>21</c:v>
                </c:pt>
                <c:pt idx="51">
                  <c:v>21</c:v>
                </c:pt>
                <c:pt idx="52">
                  <c:v>24</c:v>
                </c:pt>
                <c:pt idx="53">
                  <c:v>27</c:v>
                </c:pt>
                <c:pt idx="54">
                  <c:v>26</c:v>
                </c:pt>
                <c:pt idx="55">
                  <c:v>29</c:v>
                </c:pt>
                <c:pt idx="56">
                  <c:v>31</c:v>
                </c:pt>
                <c:pt idx="57">
                  <c:v>28</c:v>
                </c:pt>
                <c:pt idx="58">
                  <c:v>30</c:v>
                </c:pt>
                <c:pt idx="59">
                  <c:v>32</c:v>
                </c:pt>
                <c:pt idx="60">
                  <c:v>33</c:v>
                </c:pt>
                <c:pt idx="61">
                  <c:v>33</c:v>
                </c:pt>
                <c:pt idx="62">
                  <c:v>37</c:v>
                </c:pt>
                <c:pt idx="63">
                  <c:v>37</c:v>
                </c:pt>
                <c:pt idx="64">
                  <c:v>36</c:v>
                </c:pt>
                <c:pt idx="65">
                  <c:v>37</c:v>
                </c:pt>
                <c:pt idx="66">
                  <c:v>39</c:v>
                </c:pt>
                <c:pt idx="67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.9377132528476588</c:v>
                </c:pt>
                <c:pt idx="50">
                  <c:v>7.9653077485943049</c:v>
                </c:pt>
                <c:pt idx="51">
                  <c:v>7.9887106479337922</c:v>
                </c:pt>
                <c:pt idx="52">
                  <c:v>8.0085893520648828</c:v>
                </c:pt>
                <c:pt idx="53">
                  <c:v>8.0255476568305646</c:v>
                </c:pt>
                <c:pt idx="54">
                  <c:v>8.0400546371459249</c:v>
                </c:pt>
                <c:pt idx="55">
                  <c:v>8.0524663576688038</c:v>
                </c:pt>
                <c:pt idx="56">
                  <c:v>8.0630819612216502</c:v>
                </c:pt>
                <c:pt idx="57">
                  <c:v>8.072126431696601</c:v>
                </c:pt>
                <c:pt idx="58">
                  <c:v>8.0798323003045489</c:v>
                </c:pt>
                <c:pt idx="59">
                  <c:v>8.0863976831168838</c:v>
                </c:pt>
                <c:pt idx="60">
                  <c:v>8.0919913745831593</c:v>
                </c:pt>
                <c:pt idx="61">
                  <c:v>8.0967571871967188</c:v>
                </c:pt>
                <c:pt idx="62">
                  <c:v>8.1008176488801169</c:v>
                </c:pt>
                <c:pt idx="63">
                  <c:v>8.1042771531492175</c:v>
                </c:pt>
                <c:pt idx="64">
                  <c:v>8.10722464304596</c:v>
                </c:pt>
                <c:pt idx="65">
                  <c:v>8.1097358978430698</c:v>
                </c:pt>
                <c:pt idx="66">
                  <c:v>8.1118754813113547</c:v>
                </c:pt>
                <c:pt idx="67">
                  <c:v>8.1136984016390805</c:v>
                </c:pt>
                <c:pt idx="68">
                  <c:v>8.115251525679577</c:v>
                </c:pt>
                <c:pt idx="69">
                  <c:v>8.1165747838870104</c:v>
                </c:pt>
                <c:pt idx="70">
                  <c:v>8.1177021969189962</c:v>
                </c:pt>
                <c:pt idx="71">
                  <c:v>8.1186627502996949</c:v>
                </c:pt>
                <c:pt idx="72">
                  <c:v>8.1194811396308406</c:v>
                </c:pt>
                <c:pt idx="73">
                  <c:v>8.120178405509856</c:v>
                </c:pt>
                <c:pt idx="74">
                  <c:v>8.1207724744786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.7664588519725282</c:v>
                </c:pt>
                <c:pt idx="50">
                  <c:v>9.9885084664814059</c:v>
                </c:pt>
                <c:pt idx="51">
                  <c:v>10.21234557426234</c:v>
                </c:pt>
                <c:pt idx="52">
                  <c:v>10.438231919411662</c:v>
                </c:pt>
                <c:pt idx="53">
                  <c:v>10.666371584164196</c:v>
                </c:pt>
                <c:pt idx="54">
                  <c:v>10.896926857303171</c:v>
                </c:pt>
                <c:pt idx="55">
                  <c:v>11.130005967960589</c:v>
                </c:pt>
                <c:pt idx="56">
                  <c:v>11.365688817193766</c:v>
                </c:pt>
                <c:pt idx="57">
                  <c:v>11.604041339045649</c:v>
                </c:pt>
                <c:pt idx="58">
                  <c:v>11.845093773951273</c:v>
                </c:pt>
                <c:pt idx="59">
                  <c:v>12.088876704891009</c:v>
                </c:pt>
                <c:pt idx="60">
                  <c:v>12.335421061270718</c:v>
                </c:pt>
                <c:pt idx="61">
                  <c:v>12.584758122845839</c:v>
                </c:pt>
                <c:pt idx="62">
                  <c:v>12.836919523689945</c:v>
                </c:pt>
                <c:pt idx="63">
                  <c:v>13.091937256208238</c:v>
                </c:pt>
                <c:pt idx="64">
                  <c:v>13.349843675196521</c:v>
                </c:pt>
                <c:pt idx="65">
                  <c:v>13.610671501946129</c:v>
                </c:pt>
                <c:pt idx="66">
                  <c:v>13.874453828395376</c:v>
                </c:pt>
                <c:pt idx="67">
                  <c:v>14.141224121328017</c:v>
                </c:pt>
                <c:pt idx="68">
                  <c:v>14.411016226619271</c:v>
                </c:pt>
                <c:pt idx="69">
                  <c:v>14.683864373529937</c:v>
                </c:pt>
                <c:pt idx="70">
                  <c:v>14.959803179049162</c:v>
                </c:pt>
                <c:pt idx="71">
                  <c:v>15.238867652286379</c:v>
                </c:pt>
                <c:pt idx="72">
                  <c:v>15.52109319891302</c:v>
                </c:pt>
                <c:pt idx="73">
                  <c:v>15.806515625654525</c:v>
                </c:pt>
                <c:pt idx="74">
                  <c:v>16.0951711448332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2.362619616855895</c:v>
                </c:pt>
                <c:pt idx="50">
                  <c:v>12.882972738908434</c:v>
                </c:pt>
                <c:pt idx="51">
                  <c:v>13.421715914085986</c:v>
                </c:pt>
                <c:pt idx="52">
                  <c:v>13.979362896862442</c:v>
                </c:pt>
                <c:pt idx="53">
                  <c:v>14.556438328445285</c:v>
                </c:pt>
                <c:pt idx="54">
                  <c:v>15.153474932380739</c:v>
                </c:pt>
                <c:pt idx="55">
                  <c:v>15.771007800770713</c:v>
                </c:pt>
                <c:pt idx="56">
                  <c:v>16.409573921161122</c:v>
                </c:pt>
                <c:pt idx="57">
                  <c:v>17.069712481676515</c:v>
                </c:pt>
                <c:pt idx="58">
                  <c:v>17.752152255983521</c:v>
                </c:pt>
                <c:pt idx="59">
                  <c:v>18.45764663763666</c:v>
                </c:pt>
                <c:pt idx="60">
                  <c:v>19.186974471802781</c:v>
                </c:pt>
                <c:pt idx="61">
                  <c:v>19.940940915083353</c:v>
                </c:pt>
                <c:pt idx="62">
                  <c:v>20.720378324383809</c:v>
                </c:pt>
                <c:pt idx="63">
                  <c:v>21.526147175811239</c:v>
                </c:pt>
                <c:pt idx="64">
                  <c:v>22.359137014614831</c:v>
                </c:pt>
                <c:pt idx="65">
                  <c:v>23.220267437217831</c:v>
                </c:pt>
                <c:pt idx="66">
                  <c:v>24.110489106425089</c:v>
                </c:pt>
                <c:pt idx="67">
                  <c:v>25.030784800927009</c:v>
                </c:pt>
                <c:pt idx="68">
                  <c:v>25.982170500258466</c:v>
                </c:pt>
                <c:pt idx="69">
                  <c:v>26.965696506410531</c:v>
                </c:pt>
                <c:pt idx="70">
                  <c:v>27.982448603333122</c:v>
                </c:pt>
                <c:pt idx="71">
                  <c:v>29.033549255608762</c:v>
                </c:pt>
                <c:pt idx="72">
                  <c:v>30.120158847620637</c:v>
                </c:pt>
                <c:pt idx="73">
                  <c:v>31.243476964583024</c:v>
                </c:pt>
                <c:pt idx="74">
                  <c:v>32.404743716848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0.26492700641635</c:v>
                </c:pt>
                <c:pt idx="50">
                  <c:v>21.891067491313486</c:v>
                </c:pt>
                <c:pt idx="51">
                  <c:v>23.636610689156846</c:v>
                </c:pt>
                <c:pt idx="52">
                  <c:v>25.556953007901093</c:v>
                </c:pt>
                <c:pt idx="53">
                  <c:v>27.689089317784006</c:v>
                </c:pt>
                <c:pt idx="54">
                  <c:v>30.034338841606537</c:v>
                </c:pt>
                <c:pt idx="55">
                  <c:v>32.565694751055865</c:v>
                </c:pt>
                <c:pt idx="56">
                  <c:v>35.297065270277315</c:v>
                </c:pt>
                <c:pt idx="57">
                  <c:v>38.330735907748917</c:v>
                </c:pt>
                <c:pt idx="58">
                  <c:v>41.623292175189533</c:v>
                </c:pt>
                <c:pt idx="59">
                  <c:v>45.198909052697772</c:v>
                </c:pt>
                <c:pt idx="60">
                  <c:v>49.070476315841731</c:v>
                </c:pt>
                <c:pt idx="61">
                  <c:v>53.207925149811501</c:v>
                </c:pt>
                <c:pt idx="62">
                  <c:v>57.521810436954922</c:v>
                </c:pt>
                <c:pt idx="63">
                  <c:v>61.873193544003477</c:v>
                </c:pt>
                <c:pt idx="64">
                  <c:v>66.226281313705186</c:v>
                </c:pt>
                <c:pt idx="65">
                  <c:v>70.60690494855082</c:v>
                </c:pt>
                <c:pt idx="66">
                  <c:v>74.926431815503648</c:v>
                </c:pt>
                <c:pt idx="67">
                  <c:v>79.143361043346431</c:v>
                </c:pt>
                <c:pt idx="68">
                  <c:v>83.262574337071371</c:v>
                </c:pt>
                <c:pt idx="69">
                  <c:v>87.268581584698964</c:v>
                </c:pt>
                <c:pt idx="70">
                  <c:v>91.143810852600978</c:v>
                </c:pt>
                <c:pt idx="71">
                  <c:v>94.89692093747901</c:v>
                </c:pt>
                <c:pt idx="72">
                  <c:v>98.517894267215894</c:v>
                </c:pt>
                <c:pt idx="73">
                  <c:v>101.98391057024551</c:v>
                </c:pt>
                <c:pt idx="74">
                  <c:v>105.312355272435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2</c:v>
                </c:pt>
                <c:pt idx="19">
                  <c:v>2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4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4</c:v>
                </c:pt>
                <c:pt idx="36">
                  <c:v>6</c:v>
                </c:pt>
                <c:pt idx="37">
                  <c:v>6</c:v>
                </c:pt>
                <c:pt idx="38">
                  <c:v>8</c:v>
                </c:pt>
                <c:pt idx="39">
                  <c:v>8</c:v>
                </c:pt>
                <c:pt idx="40">
                  <c:v>9</c:v>
                </c:pt>
                <c:pt idx="41">
                  <c:v>9</c:v>
                </c:pt>
                <c:pt idx="42">
                  <c:v>10</c:v>
                </c:pt>
                <c:pt idx="43">
                  <c:v>9</c:v>
                </c:pt>
                <c:pt idx="44">
                  <c:v>6</c:v>
                </c:pt>
                <c:pt idx="45">
                  <c:v>6</c:v>
                </c:pt>
                <c:pt idx="46">
                  <c:v>7</c:v>
                </c:pt>
                <c:pt idx="47">
                  <c:v>9</c:v>
                </c:pt>
                <c:pt idx="48">
                  <c:v>12</c:v>
                </c:pt>
                <c:pt idx="49">
                  <c:v>10</c:v>
                </c:pt>
                <c:pt idx="50">
                  <c:v>9</c:v>
                </c:pt>
                <c:pt idx="51">
                  <c:v>12</c:v>
                </c:pt>
                <c:pt idx="52">
                  <c:v>11</c:v>
                </c:pt>
                <c:pt idx="53">
                  <c:v>12</c:v>
                </c:pt>
                <c:pt idx="54">
                  <c:v>14</c:v>
                </c:pt>
                <c:pt idx="55">
                  <c:v>15</c:v>
                </c:pt>
                <c:pt idx="56">
                  <c:v>14</c:v>
                </c:pt>
                <c:pt idx="57">
                  <c:v>15</c:v>
                </c:pt>
                <c:pt idx="58">
                  <c:v>19</c:v>
                </c:pt>
                <c:pt idx="59">
                  <c:v>25</c:v>
                </c:pt>
                <c:pt idx="60">
                  <c:v>26</c:v>
                </c:pt>
                <c:pt idx="61">
                  <c:v>39</c:v>
                </c:pt>
                <c:pt idx="62">
                  <c:v>42</c:v>
                </c:pt>
                <c:pt idx="63">
                  <c:v>48</c:v>
                </c:pt>
                <c:pt idx="64">
                  <c:v>53</c:v>
                </c:pt>
                <c:pt idx="65">
                  <c:v>56</c:v>
                </c:pt>
                <c:pt idx="66">
                  <c:v>59</c:v>
                </c:pt>
                <c:pt idx="67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.7272740491632486</c:v>
                </c:pt>
                <c:pt idx="50">
                  <c:v>3.740231464557326</c:v>
                </c:pt>
                <c:pt idx="51">
                  <c:v>3.7512206520732589</c:v>
                </c:pt>
                <c:pt idx="52">
                  <c:v>3.7605550001000321</c:v>
                </c:pt>
                <c:pt idx="53">
                  <c:v>3.7685180301639178</c:v>
                </c:pt>
                <c:pt idx="54">
                  <c:v>3.7753300035293909</c:v>
                </c:pt>
                <c:pt idx="55">
                  <c:v>3.7811581157749168</c:v>
                </c:pt>
                <c:pt idx="56">
                  <c:v>3.786142833964949</c:v>
                </c:pt>
                <c:pt idx="57">
                  <c:v>3.7903898027097087</c:v>
                </c:pt>
                <c:pt idx="58">
                  <c:v>3.7940082105777879</c:v>
                </c:pt>
                <c:pt idx="59">
                  <c:v>3.7970910859853197</c:v>
                </c:pt>
                <c:pt idx="60">
                  <c:v>3.7997176889347011</c:v>
                </c:pt>
                <c:pt idx="61">
                  <c:v>3.8019555487706334</c:v>
                </c:pt>
                <c:pt idx="62">
                  <c:v>3.803862200343707</c:v>
                </c:pt>
                <c:pt idx="63">
                  <c:v>3.8054866632178932</c:v>
                </c:pt>
                <c:pt idx="64">
                  <c:v>3.806870701952016</c:v>
                </c:pt>
                <c:pt idx="65">
                  <c:v>3.808049899856746</c:v>
                </c:pt>
                <c:pt idx="66">
                  <c:v>3.809054573833158</c:v>
                </c:pt>
                <c:pt idx="67">
                  <c:v>3.8099105538131339</c:v>
                </c:pt>
                <c:pt idx="68">
                  <c:v>3.8106398468408447</c:v>
                </c:pt>
                <c:pt idx="69">
                  <c:v>3.8112612028686836</c:v>
                </c:pt>
                <c:pt idx="70">
                  <c:v>3.811790596814137</c:v>
                </c:pt>
                <c:pt idx="71">
                  <c:v>3.8122416392711611</c:v>
                </c:pt>
                <c:pt idx="72">
                  <c:v>3.8126259264353517</c:v>
                </c:pt>
                <c:pt idx="73">
                  <c:v>3.8129533382394114</c:v>
                </c:pt>
                <c:pt idx="74">
                  <c:v>3.8132322923638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.5859893739697091</c:v>
                </c:pt>
                <c:pt idx="50">
                  <c:v>4.6902561494782251</c:v>
                </c:pt>
                <c:pt idx="51">
                  <c:v>4.7953622696536211</c:v>
                </c:pt>
                <c:pt idx="52">
                  <c:v>4.901430640419389</c:v>
                </c:pt>
                <c:pt idx="53">
                  <c:v>5.0085570916944926</c:v>
                </c:pt>
                <c:pt idx="54">
                  <c:v>5.1168178286467061</c:v>
                </c:pt>
                <c:pt idx="55">
                  <c:v>5.2262636719119291</c:v>
                </c:pt>
                <c:pt idx="56">
                  <c:v>5.3369321402475078</c:v>
                </c:pt>
                <c:pt idx="57">
                  <c:v>5.4488541939866533</c:v>
                </c:pt>
                <c:pt idx="58">
                  <c:v>5.5620440329858152</c:v>
                </c:pt>
                <c:pt idx="59">
                  <c:v>5.6765160179488223</c:v>
                </c:pt>
                <c:pt idx="60">
                  <c:v>5.7922846722488588</c:v>
                </c:pt>
                <c:pt idx="61">
                  <c:v>5.9093646837710905</c:v>
                </c:pt>
                <c:pt idx="62">
                  <c:v>6.0277709067761487</c:v>
                </c:pt>
                <c:pt idx="63">
                  <c:v>6.1475183637847381</c:v>
                </c:pt>
                <c:pt idx="64">
                  <c:v>6.2686222474835835</c:v>
                </c:pt>
                <c:pt idx="65">
                  <c:v>6.3910979226529649</c:v>
                </c:pt>
                <c:pt idx="66">
                  <c:v>6.5149609281160901</c:v>
                </c:pt>
                <c:pt idx="67">
                  <c:v>6.6402269787105475</c:v>
                </c:pt>
                <c:pt idx="68">
                  <c:v>6.766911967282093</c:v>
                </c:pt>
                <c:pt idx="69">
                  <c:v>6.8950319667010147</c:v>
                </c:pt>
                <c:pt idx="70">
                  <c:v>7.0246032319013461</c:v>
                </c:pt>
                <c:pt idx="71">
                  <c:v>7.1556422019431691</c:v>
                </c:pt>
                <c:pt idx="72">
                  <c:v>7.2881655020982876</c:v>
                </c:pt>
                <c:pt idx="73">
                  <c:v>7.4221899459595164</c:v>
                </c:pt>
                <c:pt idx="74">
                  <c:v>7.5577325375738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5.8050561679149419</c:v>
                </c:pt>
                <c:pt idx="50">
                  <c:v>6.049395894791787</c:v>
                </c:pt>
                <c:pt idx="51">
                  <c:v>6.302370950962116</c:v>
                </c:pt>
                <c:pt idx="52">
                  <c:v>6.564222577657147</c:v>
                </c:pt>
                <c:pt idx="53">
                  <c:v>6.8351971281395256</c:v>
                </c:pt>
                <c:pt idx="54">
                  <c:v>7.1155447508570431</c:v>
                </c:pt>
                <c:pt idx="55">
                  <c:v>7.4055167064488563</c:v>
                </c:pt>
                <c:pt idx="56">
                  <c:v>7.7053651455887016</c:v>
                </c:pt>
                <c:pt idx="57">
                  <c:v>8.0153432522654935</c:v>
                </c:pt>
                <c:pt idx="58">
                  <c:v>8.335793233244436</c:v>
                </c:pt>
                <c:pt idx="59">
                  <c:v>8.6670688559337368</c:v>
                </c:pt>
                <c:pt idx="60">
                  <c:v>9.0095358389334805</c:v>
                </c:pt>
                <c:pt idx="61">
                  <c:v>9.3635722557782692</c:v>
                </c:pt>
                <c:pt idx="62">
                  <c:v>9.7295689523193545</c:v>
                </c:pt>
                <c:pt idx="63">
                  <c:v>10.107929978207016</c:v>
                </c:pt>
                <c:pt idx="64">
                  <c:v>10.499073032949573</c:v>
                </c:pt>
                <c:pt idx="65">
                  <c:v>10.903429927041417</c:v>
                </c:pt>
                <c:pt idx="66">
                  <c:v>11.321447058669174</c:v>
                </c:pt>
                <c:pt idx="67">
                  <c:v>11.753585906522249</c:v>
                </c:pt>
                <c:pt idx="68">
                  <c:v>12.200323539251803</c:v>
                </c:pt>
                <c:pt idx="69">
                  <c:v>12.662153142140598</c:v>
                </c:pt>
                <c:pt idx="70">
                  <c:v>13.139584561565119</c:v>
                </c:pt>
                <c:pt idx="71">
                  <c:v>13.633144867851071</c:v>
                </c:pt>
                <c:pt idx="72">
                  <c:v>14.143378937143604</c:v>
                </c:pt>
                <c:pt idx="73">
                  <c:v>14.670850052934638</c:v>
                </c:pt>
                <c:pt idx="74">
                  <c:v>15.216140527911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9.4338917953370114</c:v>
                </c:pt>
                <c:pt idx="50">
                  <c:v>10.12185943555366</c:v>
                </c:pt>
                <c:pt idx="51">
                  <c:v>10.858331788259271</c:v>
                </c:pt>
                <c:pt idx="52">
                  <c:v>11.66281556999941</c:v>
                </c:pt>
                <c:pt idx="53">
                  <c:v>12.558150295390483</c:v>
                </c:pt>
                <c:pt idx="54">
                  <c:v>13.545196611380359</c:v>
                </c:pt>
                <c:pt idx="55">
                  <c:v>14.602489105474636</c:v>
                </c:pt>
                <c:pt idx="56">
                  <c:v>15.739995976196642</c:v>
                </c:pt>
                <c:pt idx="57">
                  <c:v>17.015529442670491</c:v>
                </c:pt>
                <c:pt idx="58">
                  <c:v>18.405624577859903</c:v>
                </c:pt>
                <c:pt idx="59">
                  <c:v>19.927262612042842</c:v>
                </c:pt>
                <c:pt idx="60">
                  <c:v>21.579237093620474</c:v>
                </c:pt>
                <c:pt idx="61">
                  <c:v>23.34319716163883</c:v>
                </c:pt>
                <c:pt idx="62">
                  <c:v>25.192455943759256</c:v>
                </c:pt>
                <c:pt idx="63">
                  <c:v>27.059165730859263</c:v>
                </c:pt>
                <c:pt idx="64">
                  <c:v>28.933895528178773</c:v>
                </c:pt>
                <c:pt idx="65">
                  <c:v>30.843329985328477</c:v>
                </c:pt>
                <c:pt idx="66">
                  <c:v>32.738848365525108</c:v>
                </c:pt>
                <c:pt idx="67">
                  <c:v>34.595406852878547</c:v>
                </c:pt>
                <c:pt idx="68">
                  <c:v>36.420220168382428</c:v>
                </c:pt>
                <c:pt idx="69">
                  <c:v>38.206327761652361</c:v>
                </c:pt>
                <c:pt idx="70">
                  <c:v>39.944145859022939</c:v>
                </c:pt>
                <c:pt idx="71">
                  <c:v>41.638993772143287</c:v>
                </c:pt>
                <c:pt idx="72">
                  <c:v>43.285585620757097</c:v>
                </c:pt>
                <c:pt idx="73">
                  <c:v>44.868911693976251</c:v>
                </c:pt>
                <c:pt idx="74">
                  <c:v>46.3973663515923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309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969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70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932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35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079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30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1286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205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chart" Target="../charts/chart9.xml"/><Relationship Id="rId4" Type="http://schemas.openxmlformats.org/officeDocument/2006/relationships/tags" Target="../tags/tag68.xml"/><Relationship Id="rId9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10" Type="http://schemas.openxmlformats.org/officeDocument/2006/relationships/chart" Target="../charts/chart10.xml"/><Relationship Id="rId4" Type="http://schemas.openxmlformats.org/officeDocument/2006/relationships/tags" Target="../tags/tag76.xml"/><Relationship Id="rId9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chart" Target="../charts/chart11.xml"/><Relationship Id="rId4" Type="http://schemas.openxmlformats.org/officeDocument/2006/relationships/tags" Target="../tags/tag84.xml"/><Relationship Id="rId9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10" Type="http://schemas.openxmlformats.org/officeDocument/2006/relationships/chart" Target="../charts/chart12.xml"/><Relationship Id="rId4" Type="http://schemas.openxmlformats.org/officeDocument/2006/relationships/tags" Target="../tags/tag92.xml"/><Relationship Id="rId9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10" Type="http://schemas.openxmlformats.org/officeDocument/2006/relationships/chart" Target="../charts/chart13.xml"/><Relationship Id="rId4" Type="http://schemas.openxmlformats.org/officeDocument/2006/relationships/tags" Target="../tags/tag100.xml"/><Relationship Id="rId9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10" Type="http://schemas.openxmlformats.org/officeDocument/2006/relationships/chart" Target="../charts/chart14.xml"/><Relationship Id="rId4" Type="http://schemas.openxmlformats.org/officeDocument/2006/relationships/tags" Target="../tags/tag108.xml"/><Relationship Id="rId9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5" Type="http://schemas.openxmlformats.org/officeDocument/2006/relationships/tags" Target="../tags/tag117.xml"/><Relationship Id="rId10" Type="http://schemas.openxmlformats.org/officeDocument/2006/relationships/chart" Target="../charts/chart15.xml"/><Relationship Id="rId4" Type="http://schemas.openxmlformats.org/officeDocument/2006/relationships/tags" Target="../tags/tag116.xml"/><Relationship Id="rId9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10" Type="http://schemas.openxmlformats.org/officeDocument/2006/relationships/chart" Target="../charts/chart17.xml"/><Relationship Id="rId4" Type="http://schemas.openxmlformats.org/officeDocument/2006/relationships/tags" Target="../tags/tag131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10" Type="http://schemas.openxmlformats.org/officeDocument/2006/relationships/chart" Target="../charts/chart18.xml"/><Relationship Id="rId4" Type="http://schemas.openxmlformats.org/officeDocument/2006/relationships/tags" Target="../tags/tag139.xml"/><Relationship Id="rId9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10" Type="http://schemas.openxmlformats.org/officeDocument/2006/relationships/chart" Target="../charts/chart19.xml"/><Relationship Id="rId4" Type="http://schemas.openxmlformats.org/officeDocument/2006/relationships/tags" Target="../tags/tag147.xml"/><Relationship Id="rId9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10" Type="http://schemas.openxmlformats.org/officeDocument/2006/relationships/chart" Target="../charts/chart20.xml"/><Relationship Id="rId4" Type="http://schemas.openxmlformats.org/officeDocument/2006/relationships/tags" Target="../tags/tag155.xml"/><Relationship Id="rId9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10" Type="http://schemas.openxmlformats.org/officeDocument/2006/relationships/chart" Target="../charts/chart21.xml"/><Relationship Id="rId4" Type="http://schemas.openxmlformats.org/officeDocument/2006/relationships/tags" Target="../tags/tag163.xml"/><Relationship Id="rId9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10" Type="http://schemas.openxmlformats.org/officeDocument/2006/relationships/chart" Target="../charts/chart22.xml"/><Relationship Id="rId4" Type="http://schemas.openxmlformats.org/officeDocument/2006/relationships/tags" Target="../tags/tag171.xml"/><Relationship Id="rId9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5" Type="http://schemas.openxmlformats.org/officeDocument/2006/relationships/tags" Target="../tags/tag180.xml"/><Relationship Id="rId10" Type="http://schemas.openxmlformats.org/officeDocument/2006/relationships/chart" Target="../charts/chart23.xml"/><Relationship Id="rId4" Type="http://schemas.openxmlformats.org/officeDocument/2006/relationships/tags" Target="../tags/tag179.xml"/><Relationship Id="rId9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5" Type="http://schemas.openxmlformats.org/officeDocument/2006/relationships/tags" Target="../tags/tag188.xml"/><Relationship Id="rId10" Type="http://schemas.openxmlformats.org/officeDocument/2006/relationships/chart" Target="../charts/chart24.xml"/><Relationship Id="rId4" Type="http://schemas.openxmlformats.org/officeDocument/2006/relationships/tags" Target="../tags/tag187.xml"/><Relationship Id="rId9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5" Type="http://schemas.openxmlformats.org/officeDocument/2006/relationships/tags" Target="../tags/tag196.xml"/><Relationship Id="rId10" Type="http://schemas.openxmlformats.org/officeDocument/2006/relationships/chart" Target="../charts/chart25.xml"/><Relationship Id="rId4" Type="http://schemas.openxmlformats.org/officeDocument/2006/relationships/tags" Target="../tags/tag195.xml"/><Relationship Id="rId9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5" Type="http://schemas.openxmlformats.org/officeDocument/2006/relationships/tags" Target="../tags/tag204.xml"/><Relationship Id="rId10" Type="http://schemas.openxmlformats.org/officeDocument/2006/relationships/chart" Target="../charts/chart26.xml"/><Relationship Id="rId4" Type="http://schemas.openxmlformats.org/officeDocument/2006/relationships/tags" Target="../tags/tag203.xml"/><Relationship Id="rId9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5" Type="http://schemas.openxmlformats.org/officeDocument/2006/relationships/tags" Target="../tags/tag212.xml"/><Relationship Id="rId10" Type="http://schemas.openxmlformats.org/officeDocument/2006/relationships/chart" Target="../charts/chart27.xml"/><Relationship Id="rId4" Type="http://schemas.openxmlformats.org/officeDocument/2006/relationships/tags" Target="../tags/tag211.xml"/><Relationship Id="rId9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chart" Target="../charts/chart2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5" Type="http://schemas.openxmlformats.org/officeDocument/2006/relationships/tags" Target="../tags/tag220.xml"/><Relationship Id="rId10" Type="http://schemas.openxmlformats.org/officeDocument/2006/relationships/chart" Target="../charts/chart28.xml"/><Relationship Id="rId4" Type="http://schemas.openxmlformats.org/officeDocument/2006/relationships/tags" Target="../tags/tag219.xml"/><Relationship Id="rId9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5" Type="http://schemas.openxmlformats.org/officeDocument/2006/relationships/tags" Target="../tags/tag228.xml"/><Relationship Id="rId10" Type="http://schemas.openxmlformats.org/officeDocument/2006/relationships/chart" Target="../charts/chart29.xml"/><Relationship Id="rId4" Type="http://schemas.openxmlformats.org/officeDocument/2006/relationships/tags" Target="../tags/tag227.xml"/><Relationship Id="rId9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5" Type="http://schemas.openxmlformats.org/officeDocument/2006/relationships/tags" Target="../tags/tag236.xml"/><Relationship Id="rId10" Type="http://schemas.openxmlformats.org/officeDocument/2006/relationships/chart" Target="../charts/chart30.xml"/><Relationship Id="rId4" Type="http://schemas.openxmlformats.org/officeDocument/2006/relationships/tags" Target="../tags/tag235.xml"/><Relationship Id="rId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chart" Target="../charts/chart3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chart" Target="../charts/chart4.xml"/><Relationship Id="rId4" Type="http://schemas.openxmlformats.org/officeDocument/2006/relationships/tags" Target="../tags/tag28.xml"/><Relationship Id="rId9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chart" Target="../charts/chart5.xml"/><Relationship Id="rId4" Type="http://schemas.openxmlformats.org/officeDocument/2006/relationships/tags" Target="../tags/tag36.xml"/><Relationship Id="rId9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chart" Target="../charts/chart6.xml"/><Relationship Id="rId4" Type="http://schemas.openxmlformats.org/officeDocument/2006/relationships/tags" Target="../tags/tag44.xml"/><Relationship Id="rId9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chart" Target="../charts/chart7.xml"/><Relationship Id="rId4" Type="http://schemas.openxmlformats.org/officeDocument/2006/relationships/tags" Target="../tags/tag52.xml"/><Relationship Id="rId9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chart" Target="../charts/chart8.xml"/><Relationship Id="rId4" Type="http://schemas.openxmlformats.org/officeDocument/2006/relationships/tags" Target="../tags/tag60.xml"/><Relationship Id="rId9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29685319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995405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05343861-F9B3-482D-9DFD-5F70EDED96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824488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568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14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F24DF610-50AB-4EE4-A01A-FD43A9EC8E21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277575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171894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61D38DEC-6EF5-4701-A250-62093115B5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596196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7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8AE5C7EB-7806-4D86-BA6A-80DAAB3EAAA0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7516403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315128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0931AD69-C853-4C0C-ADB1-5042AE123B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930131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70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7E078F4C-EB7B-435B-9696-584E2A4C322A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590765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966956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55A8043-F4B0-4A65-9AEB-1EF376B1A51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22C26FCB-9123-4EB3-9EC5-B35DD7F236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E04CB52-B15B-4784-B37A-C08CBB7C1F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FD72FF7-4575-40FB-AA24-4EB4724A40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E440A637-095B-4EE7-9F83-8B0D23228326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7B8832DD-78A0-4961-A069-DEFC31052D0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CD5E9FF-FB98-4573-9299-6EBB5EFDB5F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B9853A02-C537-4AD3-8818-89CC0D4E52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204998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4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3E24E74C-23FD-4889-885D-545CB1302141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336614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003931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67B1120-9908-4BAA-A0D0-AE0667B0D22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77504F4B-75B3-4FC0-B712-DB5AFF2D9B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FF95FCCD-AFDA-441D-B388-EFC1050D8E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5999DF3-D2C3-47AF-B02B-BB52029787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BC50C3E3-C57C-4A07-9F4A-45BE200216D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70C5B961-9F70-4A91-9956-F83323C117BE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1BD3BA7D-8222-421D-9A87-C9FCB0B3D2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F11B30BA-4292-4A4A-A950-73EE0962A9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768468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7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8300565F-2F82-4226-A728-708287DEE99C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439157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797963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1E0A04F-9147-43F0-A2CE-A87540B22DD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240F794-8825-4EB8-A25E-2187567339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C0E222C-EC4E-4AA1-8D4D-C6A0557751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37544AE-2986-42C6-A86C-ED6C6E127A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D6514DED-3F2F-4A71-BFE0-3824FA5D1CC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920ED640-778D-471E-AFB9-25B435A4E97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FC861C7F-FC9E-49AF-B1D4-7304EAD2340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F9ECCB32-01D1-4D9B-96C0-EA8848AE60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87262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3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76D8A664-5E20-406B-9FEB-BCC138A1B39A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6135950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132884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A518D68-7C02-4323-AE1C-BA0ED4A49D3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E1F05C43-E7D4-491D-9D0B-912B353197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DF8F5D7-8BD6-4A58-A93E-B37322B372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247C0AB6-03BE-4CD6-838D-AC8D983FB5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E3F6B7BA-4232-4796-94C9-FFCD4093E221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E55558DA-F29D-4EEA-B01D-33C42B62C428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F4C4AE49-9790-4061-B37F-E97E9866638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94DA3F6A-1011-4751-95F5-E32B4B1F55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84942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3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647BFDF9-63E3-4478-ABFF-F375B6766AE1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834584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3451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561888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A9BC568C-6CDF-4B4A-A71C-3C473F3EE73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E776417-B4F9-42BF-A743-3DA30BC259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E6D130A2-14FE-4191-835E-EF4283D949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F1AE78F3-114E-41F3-AA40-43C174A8BE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A2381188-7892-46BB-9DE4-FE91D63456D6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64082B8A-FF42-4A79-8F96-A4BB50B9AD2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10F9CF09-E876-48E4-9EEE-5C0BCBBE1F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981893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290288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3AF027A-5400-4C46-8D19-D61B5F61799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EB56BF-C325-439E-88EC-C3C9EBC6D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639F4B04-F96F-4921-A237-DB49209E37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E912E44-9D24-4656-9A87-908FB0CA259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196D3BFD-76CB-42DF-9DB2-A3502E5C99A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23E0576E-E7BA-498D-B987-0F1EDF336C3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FAE08B3F-0337-472F-B637-FF3894A012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87436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124835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86D98320-580C-4A5E-A528-AAFCE95BD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918605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 8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5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4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89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ovéPole 3">
            <a:extLst>
              <a:ext uri="{FF2B5EF4-FFF2-40B4-BE49-F238E27FC236}">
                <a16:creationId xmlns:a16="http://schemas.microsoft.com/office/drawing/2014/main" id="{D04959B4-AAE2-4447-801F-502B4595B07B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003634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84470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3AF027A-5400-4C46-8D19-D61B5F61799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EB56BF-C325-439E-88EC-C3C9EBC6D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639F4B04-F96F-4921-A237-DB49209E37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E912E44-9D24-4656-9A87-908FB0CA259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196D3BFD-76CB-42DF-9DB2-A3502E5C99A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23E0576E-E7BA-498D-B987-0F1EDF336C3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FAE08B3F-0337-472F-B637-FF3894A012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269379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853504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020858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069446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048370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655916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632849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427964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968692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491831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454818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803264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158444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Pardubický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690126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833214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Kraj Vysočina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843705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046888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634646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AE73818-3396-4627-8A77-D9721D99B1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636DF9C-3685-4031-85EC-C03B396BE6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3CAD5209-A365-46B8-9FDE-7364B7A903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1BA2502B-CBB2-460D-B61F-1BEF4A985B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DAAB9E35-D2F8-4519-9153-2A8C35FBBBDB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655865F0-96F1-49F0-B55C-1F16BAA1916C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2A40AA4D-AF8F-4A9E-BFBB-A9B29C1367B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340005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784539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DF0C38CC-B92D-4024-B00C-51F05533111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A2264FE-7E30-46A5-B705-7AB22EBBC0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BC13B6-B76C-4F62-90BD-7DB025A3EA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53BA5DB-74CB-4D7E-843B-14B909A946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C11325FB-F277-4408-8E29-60971B27EBCC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E8983CD0-BF54-426B-A97C-CD022DA61BD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B8D15D85-EC3A-450E-99C0-D5C2A8621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C6B78EA1-FC15-4D22-827C-F8A832B9C0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87799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0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ovéPole 3">
            <a:extLst>
              <a:ext uri="{FF2B5EF4-FFF2-40B4-BE49-F238E27FC236}">
                <a16:creationId xmlns:a16="http://schemas.microsoft.com/office/drawing/2014/main" id="{730B9CEA-E660-4950-A47F-701A074AFA46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8072177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617552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BD5B846-8F62-4F08-9BFF-75E8844F606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19D54EF-9980-4E77-A32E-89450C589A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E2D1D6F-9BA2-43AB-9456-2385C0C218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C9C479D-1748-4545-A8E5-6E76C53EB0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320B906A-FA8F-47B9-9263-3189EC3FCAB5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8CB4C90-D4C6-4453-BBA5-8E9E0D7DA973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22294F84-144D-43E6-8F53-D9BDD34537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40917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398079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4675F74E-C015-49A7-B8B6-2FF9047E13F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F7DCDDB-611D-4E1C-A2AE-4DF21EBC08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7F36B753-B807-4F36-A378-B8C6DF6C08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C0AD8A3-5BA9-42AB-8AF2-4478812CAA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65802445-FB16-4421-9718-2DDFDBED298F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061E45F-DBA9-4490-A272-1671B1494F8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6DA7C759-CA77-454A-8CD0-64277C883FD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863888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319372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9E05485-E6C4-420F-ACA3-C2E6CDB5EC7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729B208-5975-4509-A979-86DFDBFF67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1A1CAE34-251A-4256-8CEB-08D09EF22F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A4462B8-FFB0-4021-A8D9-CE75BA4BAC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3224D932-9321-4055-857A-59C81983D82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1C5AA08F-8B11-45AB-8422-16392DA1F838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F1AD2613-E1CF-4E08-A297-ED574DC4F82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745850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119130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DF0C38CC-B92D-4024-B00C-51F05533111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A2264FE-7E30-46A5-B705-7AB22EBBC0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BC13B6-B76C-4F62-90BD-7DB025A3EA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53BA5DB-74CB-4D7E-843B-14B909A946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C11325FB-F277-4408-8E29-60971B27EBCC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E8983CD0-BF54-426B-A97C-CD022DA61BD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B8D15D85-EC3A-450E-99C0-D5C2A8621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51747940-8D84-40F7-8495-423D38F3C0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973646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8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ovéPole 3">
            <a:extLst>
              <a:ext uri="{FF2B5EF4-FFF2-40B4-BE49-F238E27FC236}">
                <a16:creationId xmlns:a16="http://schemas.microsoft.com/office/drawing/2014/main" id="{C8CD511D-FDEA-4BAB-B177-84D3A9578BD3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2259673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214254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293E36EA-9012-4EB7-8357-D3E9ACFDA8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29677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3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ovéPole 3">
            <a:extLst>
              <a:ext uri="{FF2B5EF4-FFF2-40B4-BE49-F238E27FC236}">
                <a16:creationId xmlns:a16="http://schemas.microsoft.com/office/drawing/2014/main" id="{2E465F66-20A1-4485-8CD6-7043309436A3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194991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177365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1755301B-E7C3-4E5E-85C6-08A8407975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45867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7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EE3BAFF1-3C6F-4A7B-891A-BFDE2FC4D89A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261531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481412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6C0F6821-3D0B-48C8-814A-F664A06324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107141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10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C0441031-E7FC-441F-83CC-5B33E6E2A3BA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62211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208490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1B0B2A23-B36E-4378-944D-3BE6494A16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135471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5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D576B54F-5415-432A-91E3-DA61A4FAFB26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82218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890454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4F4FF804-A334-45B3-8AE1-3B7DFCC242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21599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2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3">
            <a:extLst>
              <a:ext uri="{FF2B5EF4-FFF2-40B4-BE49-F238E27FC236}">
                <a16:creationId xmlns:a16="http://schemas.microsoft.com/office/drawing/2014/main" id="{D7786659-1176-4E7F-84F6-D52324271876}"/>
              </a:ext>
            </a:extLst>
          </p:cNvPr>
          <p:cNvSpPr txBox="1"/>
          <p:nvPr/>
        </p:nvSpPr>
        <p:spPr>
          <a:xfrm>
            <a:off x="1197108" y="2782669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16054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0</TotalTime>
  <Words>3743</Words>
  <Application>Microsoft Office PowerPoint</Application>
  <PresentationFormat>Širokoúhlá obrazovka</PresentationFormat>
  <Paragraphs>917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Epidemie COVID-19 v ČR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383</cp:revision>
  <dcterms:created xsi:type="dcterms:W3CDTF">2021-03-07T17:05:03Z</dcterms:created>
  <dcterms:modified xsi:type="dcterms:W3CDTF">2021-11-07T19:23:50Z</dcterms:modified>
</cp:coreProperties>
</file>